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notesSlides/notesSlide1.xml" ContentType="application/vnd.openxmlformats-officedocument.presentationml.notesSlide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6"/>
    <p:sldMasterId id="2147483693" r:id="rId7"/>
  </p:sldMasterIdLst>
  <p:notesMasterIdLst>
    <p:notesMasterId r:id="rId11"/>
  </p:notesMasterIdLst>
  <p:sldIdLst>
    <p:sldId id="1887" r:id="rId8"/>
    <p:sldId id="492" r:id="rId9"/>
    <p:sldId id="1888" r:id="rId10"/>
  </p:sldIdLst>
  <p:sldSz cx="9144000" cy="6858000" type="screen4x3"/>
  <p:notesSz cx="6797675" cy="9926638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8" name="Forfatter" initials="F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EB862"/>
    <a:srgbClr val="D05A57"/>
    <a:srgbClr val="DDCB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48CDED-5261-445C-BF49-7ED4209B4EFE}" v="1" dt="2020-01-16T09:36:50.5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70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commentAuthors" Target="commentAuthor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2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viewProps" Target="viewProps.xml"/><Relationship Id="rId10" Type="http://schemas.openxmlformats.org/officeDocument/2006/relationships/slide" Target="slides/slide3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D72A38B-F9FA-4036-A084-652409E98F08}" type="datetimeFigureOut">
              <a:rPr lang="en-GB"/>
              <a:pPr/>
              <a:t>16/01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49436F85-577F-4A92-A47F-D540A2BCC821}" type="slidenum">
              <a:rPr lang="en-GB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8091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DFE663-3167-40BD-898A-A4154FC1E348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0544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1.xml"/><Relationship Id="rId7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rt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BBCAF46D-9983-4AEE-9B8A-24654CDEDDB0}"/>
              </a:ext>
            </a:extLst>
          </p:cNvPr>
          <p:cNvSpPr/>
          <p:nvPr userDrawn="1"/>
        </p:nvSpPr>
        <p:spPr>
          <a:xfrm>
            <a:off x="0" y="0"/>
            <a:ext cx="9142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700212"/>
            <a:ext cx="7551758" cy="41417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94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D4E1389B-CA3B-4709-956D-F396D960BB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14" name="Date Placeholder 14">
            <a:extLst>
              <a:ext uri="{FF2B5EF4-FFF2-40B4-BE49-F238E27FC236}">
                <a16:creationId xmlns:a16="http://schemas.microsoft.com/office/drawing/2014/main" id="{8A94F1C1-AE36-4BBA-B958-8FC614A9472A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2C9E90-37DD-4C1A-AB21-3AF2DA430E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57" y="6375535"/>
            <a:ext cx="800713" cy="22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25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4574475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9300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0" name="Date Placeholder 14">
            <a:extLst>
              <a:ext uri="{FF2B5EF4-FFF2-40B4-BE49-F238E27FC236}">
                <a16:creationId xmlns:a16="http://schemas.microsoft.com/office/drawing/2014/main" id="{2C4B35A0-F8F7-420F-9E06-CC0AAAA0B84F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BB03FB-BC65-4B73-9B66-32507EBF13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728" y="6381356"/>
            <a:ext cx="797663" cy="225677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EFD876A3-4F24-4834-9FFF-7E8AD29456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19151" y="1633533"/>
            <a:ext cx="3510000" cy="124473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35D18C-F049-45BC-9DD0-BCABC1798FE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721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 (C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032802" y="2003078"/>
            <a:ext cx="3507803" cy="1373041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Overskrift i </a:t>
            </a:r>
            <a:r>
              <a:rPr lang="da-DK" err="1"/>
              <a:t>maks</a:t>
            </a:r>
            <a:r>
              <a:rPr lang="da-DK"/>
              <a:t> 2 linj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FAAEFF0-FCE4-48D6-A0D1-A458F3CD3E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21E6D3-406B-4DA0-9B5A-6A2F208BAF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800" y="1204110"/>
            <a:ext cx="3494458" cy="790493"/>
          </a:xfrm>
        </p:spPr>
        <p:txBody>
          <a:bodyPr anchor="b" anchorCtr="0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a-DK"/>
              <a:t>Klik for at indsætte tekst (f.eks. job titel)</a:t>
            </a:r>
          </a:p>
        </p:txBody>
      </p:sp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308376" y="1016000"/>
            <a:ext cx="3032909" cy="4804038"/>
          </a:xfrm>
          <a:noFill/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4AC2696B-BD55-4932-A36E-BCC4318F22B0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91D0A-163E-46D9-B4AE-DA279145732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A9685AE-678B-466E-B97B-590BC795CF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1D70FD-38F1-46F9-B7F9-51176E935F50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2234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17" name="Date Placeholder 14">
            <a:extLst>
              <a:ext uri="{FF2B5EF4-FFF2-40B4-BE49-F238E27FC236}">
                <a16:creationId xmlns:a16="http://schemas.microsoft.com/office/drawing/2014/main" id="{360EC57D-D72D-43A3-90BC-3ACC9F8BC9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36B2A848-B2AD-472A-AC10-0002D162D52D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D6F82-73FC-4F13-BFEC-9200E77E15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F91CDD8-F125-4A35-872E-713802788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22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</p:spTree>
    <p:extLst>
      <p:ext uri="{BB962C8B-B14F-4D97-AF65-F5344CB8AC3E}">
        <p14:creationId xmlns:p14="http://schemas.microsoft.com/office/powerpoint/2010/main" val="391830404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FA71C01-3350-42F9-9392-0F3379095A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608454" y="1700213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0A09C85-3CCC-44AB-A808-AA96845B1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08454" y="2695029"/>
            <a:ext cx="2990094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800" b="1"/>
            </a:lvl1pPr>
            <a:lvl2pPr marL="251988">
              <a:defRPr sz="1100"/>
            </a:lvl2pPr>
            <a:lvl3pPr marL="503974">
              <a:defRPr sz="1050"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endParaRPr lang="da-DK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F35B7FD-E0E2-4581-BAC7-8858E530AFE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609277" y="3849060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2C92166-E723-47D5-9A87-3354EB28C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7860" y="4869330"/>
            <a:ext cx="2990093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251988" indent="0">
              <a:buNone/>
              <a:defRPr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E23DA26-37CC-4CA7-8253-FD9AB459D2E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62099" y="1700213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  <a:lvl2pPr marL="251988" indent="0">
              <a:buNone/>
              <a:defRPr sz="1000"/>
            </a:lvl2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2682726-03AB-4490-8664-993881FA0B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2099" y="2694300"/>
            <a:ext cx="2990095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503974">
              <a:defRPr sz="1050"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62625AB-198B-4F37-9382-C78FD9118D5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62099" y="3849060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8AE7F93-F2C6-4199-8D16-CFB4D977F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62099" y="4869330"/>
            <a:ext cx="2990092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503974">
              <a:defRPr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133E6A-A4F4-491B-846E-1DACC83D9BB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38E8B2-EC82-4BE1-85C6-8F2725969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82921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05F52FC-7E26-46C0-8E8B-4445D500B9C7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1B1D99-4B52-4731-AEC4-C722464A7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4B452C39-88DE-4155-8ED8-643714B1A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9B44DD-5439-4457-BCA6-2324E90AE9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22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</p:spTree>
    <p:extLst>
      <p:ext uri="{BB962C8B-B14F-4D97-AF65-F5344CB8AC3E}">
        <p14:creationId xmlns:p14="http://schemas.microsoft.com/office/powerpoint/2010/main" val="11985225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6421903"/>
              </p:ext>
            </p:extLst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54F5C66-E665-465A-99D9-4C295A0EFB9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</a:pPr>
            <a:endParaRPr lang="da-DK" sz="36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396643" y="420322"/>
            <a:ext cx="8353686" cy="729182"/>
          </a:xfrm>
        </p:spPr>
        <p:txBody>
          <a:bodyPr/>
          <a:lstStyle>
            <a:lvl1pPr>
              <a:defRPr/>
            </a:lvl1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title</a:t>
            </a:r>
            <a:endParaRPr lang="da-DK"/>
          </a:p>
        </p:txBody>
      </p:sp>
      <p:sp>
        <p:nvSpPr>
          <p:cNvPr id="3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6643" y="751092"/>
            <a:ext cx="8353687" cy="306926"/>
          </a:xfrm>
        </p:spPr>
        <p:txBody>
          <a:bodyPr/>
          <a:lstStyle>
            <a:lvl1pPr marL="0" indent="0" algn="l">
              <a:buNone/>
              <a:defRPr sz="1539" cap="all" baseline="0">
                <a:solidFill>
                  <a:schemeClr val="tx1"/>
                </a:solidFill>
              </a:defRPr>
            </a:lvl1pPr>
            <a:lvl2pPr marL="390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1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1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2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2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3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3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err="1"/>
              <a:t>Click</a:t>
            </a:r>
            <a:r>
              <a:rPr lang="da-DK"/>
              <a:t> to </a:t>
            </a:r>
            <a:r>
              <a:rPr lang="da-DK" err="1"/>
              <a:t>add</a:t>
            </a:r>
            <a:r>
              <a:rPr lang="da-DK"/>
              <a:t> </a:t>
            </a:r>
            <a:r>
              <a:rPr lang="da-DK" err="1"/>
              <a:t>subtitle</a:t>
            </a:r>
            <a:endParaRPr lang="da-DK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396642" y="1535600"/>
            <a:ext cx="8353944" cy="4220915"/>
          </a:xfrm>
        </p:spPr>
        <p:txBody>
          <a:bodyPr/>
          <a:lstStyle>
            <a:lvl1pPr marL="0" indent="0">
              <a:buNone/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881"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9764"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9645"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9526">
              <a:defRPr lang="en-GB" sz="1368" kern="1200" spc="-9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da-DK" noProof="0" err="1"/>
              <a:t>Click</a:t>
            </a:r>
            <a:r>
              <a:rPr lang="da-DK" noProof="0"/>
              <a:t> to </a:t>
            </a:r>
            <a:r>
              <a:rPr lang="da-DK" noProof="0" err="1"/>
              <a:t>add</a:t>
            </a:r>
            <a:r>
              <a:rPr lang="da-DK" noProof="0"/>
              <a:t> </a:t>
            </a:r>
            <a:r>
              <a:rPr lang="da-DK" noProof="0" err="1"/>
              <a:t>text</a:t>
            </a:r>
            <a:endParaRPr lang="da-DK" noProof="0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88701" y="6458504"/>
            <a:ext cx="3586468" cy="401616"/>
          </a:xfrm>
        </p:spPr>
        <p:txBody>
          <a:bodyPr tIns="35961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770" b="1" kern="1200" spc="-19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da-DK" noProof="0" err="1"/>
              <a:t>Insert</a:t>
            </a:r>
            <a:r>
              <a:rPr lang="da-DK" noProof="0"/>
              <a:t> source</a:t>
            </a:r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-2051999" y="2"/>
            <a:ext cx="1908516" cy="289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941" b="1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Text slide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da-DK" altLang="da-DK" sz="941" b="0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Text slide, one column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3276" y="414683"/>
            <a:ext cx="1944023" cy="1459247"/>
          </a:xfrm>
          <a:prstGeom prst="rect">
            <a:avLst/>
          </a:prstGeom>
        </p:spPr>
      </p:pic>
      <p:sp>
        <p:nvSpPr>
          <p:cNvPr id="22" name="AutoShape 4"/>
          <p:cNvSpPr>
            <a:spLocks/>
          </p:cNvSpPr>
          <p:nvPr userDrawn="1"/>
        </p:nvSpPr>
        <p:spPr bwMode="gray">
          <a:xfrm>
            <a:off x="9252521" y="496341"/>
            <a:ext cx="1440161" cy="5791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ts val="0"/>
              </a:spcBef>
              <a:defRPr/>
            </a:pPr>
            <a:r>
              <a:rPr lang="da-DK" sz="941" b="1" kern="1200" noProof="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Heading</a:t>
            </a:r>
            <a:endParaRPr lang="da-DK" sz="941" b="1" kern="1200" noProof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Arial" pitchFamily="34" charset="0"/>
            </a:endParaRPr>
          </a:p>
          <a:p>
            <a:pPr marL="0" indent="0" algn="l">
              <a:spcBef>
                <a:spcPts val="0"/>
              </a:spcBef>
              <a:buFont typeface="+mj-lt"/>
              <a:buNone/>
              <a:defRPr/>
            </a:pP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If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your</a:t>
            </a: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heading</a:t>
            </a: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 has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two</a:t>
            </a: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 lines,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delete</a:t>
            </a: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 the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text</a:t>
            </a: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box</a:t>
            </a:r>
            <a:r>
              <a:rPr 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 for the </a:t>
            </a:r>
            <a:r>
              <a:rPr lang="da-DK" sz="941" kern="1200" err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subheading</a:t>
            </a:r>
            <a:endParaRPr lang="da-DK" sz="941" kern="1200" noProof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Arial" pitchFamily="34" charset="0"/>
            </a:endParaRPr>
          </a:p>
        </p:txBody>
      </p:sp>
      <p:grpSp>
        <p:nvGrpSpPr>
          <p:cNvPr id="24" name="Group 25"/>
          <p:cNvGrpSpPr/>
          <p:nvPr userDrawn="1"/>
        </p:nvGrpSpPr>
        <p:grpSpPr>
          <a:xfrm>
            <a:off x="-1907998" y="1981961"/>
            <a:ext cx="1801661" cy="1324642"/>
            <a:chOff x="-2231300" y="2231625"/>
            <a:chExt cx="2106943" cy="1460479"/>
          </a:xfrm>
        </p:grpSpPr>
        <p:sp>
          <p:nvSpPr>
            <p:cNvPr id="3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001" cy="14366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a-DK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To </a:t>
              </a:r>
              <a:r>
                <a:rPr lang="da-DK" altLang="da-DK" sz="94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add</a:t>
              </a:r>
              <a:r>
                <a:rPr lang="da-DK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  <a:r>
                <a:rPr lang="da-DK" altLang="da-DK" sz="94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preformatted</a:t>
              </a:r>
              <a:r>
                <a:rPr lang="da-DK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bullets,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a-DK" altLang="da-DK" sz="94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click</a:t>
              </a:r>
              <a:r>
                <a:rPr lang="da-DK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the </a:t>
              </a:r>
              <a:r>
                <a:rPr lang="da-DK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Home</a:t>
              </a:r>
              <a:r>
                <a:rPr lang="da-DK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tab and </a:t>
              </a:r>
              <a:r>
                <a:rPr lang="da-DK" altLang="da-DK" sz="94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select</a:t>
              </a:r>
              <a:endParaRPr lang="da-DK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a-DK" altLang="da-DK" sz="941" b="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Increase</a:t>
              </a:r>
              <a:r>
                <a:rPr lang="da-DK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  <a:r>
                <a:rPr lang="da-DK" altLang="da-DK" sz="941" b="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Indent</a:t>
              </a:r>
              <a:endParaRPr lang="da-DK" altLang="da-DK" sz="941" b="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da-DK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da-DK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a-DK" altLang="da-DK" sz="94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Click</a:t>
              </a:r>
              <a:r>
                <a:rPr lang="da-DK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  <a:r>
                <a:rPr lang="da-DK" altLang="da-DK" sz="941" b="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Decrease</a:t>
              </a:r>
              <a:r>
                <a:rPr lang="da-DK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  <a:r>
                <a:rPr lang="da-DK" altLang="da-DK" sz="941" b="1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Indent</a:t>
              </a:r>
              <a:endParaRPr lang="da-DK" altLang="da-DK" sz="941" b="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a-DK" altLang="da-DK" sz="941" b="0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to return to the </a:t>
              </a:r>
              <a:r>
                <a:rPr lang="da-DK" altLang="da-DK" sz="941" b="0" kern="120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previous</a:t>
              </a:r>
              <a:r>
                <a:rPr lang="da-DK" altLang="da-DK" sz="941" b="0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list design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da-DK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-544672" y="2787459"/>
              <a:ext cx="419742" cy="242548"/>
              <a:chOff x="-832082" y="3336845"/>
              <a:chExt cx="358924" cy="219989"/>
            </a:xfrm>
          </p:grpSpPr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336845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3" name="Rounded Rectangle 43"/>
              <p:cNvSpPr/>
              <p:nvPr/>
            </p:nvSpPr>
            <p:spPr bwMode="auto">
              <a:xfrm>
                <a:off x="-652694" y="3337761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da-DK" sz="1967">
                  <a:latin typeface="HelveticaNeueLT Std Lt Cn" pitchFamily="34" charset="0"/>
                </a:endParaRPr>
              </a:p>
            </p:txBody>
          </p:sp>
        </p:grpSp>
        <p:grpSp>
          <p:nvGrpSpPr>
            <p:cNvPr id="38" name="Group 38"/>
            <p:cNvGrpSpPr/>
            <p:nvPr userDrawn="1"/>
          </p:nvGrpSpPr>
          <p:grpSpPr>
            <a:xfrm>
              <a:off x="-531551" y="3446578"/>
              <a:ext cx="407194" cy="245526"/>
              <a:chOff x="-474298" y="3689019"/>
              <a:chExt cx="348194" cy="222690"/>
            </a:xfrm>
          </p:grpSpPr>
          <p:pic>
            <p:nvPicPr>
              <p:cNvPr id="39" name="Picture 3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689019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0" name="Rectangle 40"/>
              <p:cNvSpPr/>
              <p:nvPr/>
            </p:nvSpPr>
            <p:spPr bwMode="auto">
              <a:xfrm>
                <a:off x="-297554" y="3692193"/>
                <a:ext cx="171450" cy="211138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da-DK" sz="1967">
                  <a:latin typeface="HelveticaNeueLT Std Lt Cn" pitchFamily="34" charset="0"/>
                </a:endParaRPr>
              </a:p>
            </p:txBody>
          </p:sp>
          <p:sp>
            <p:nvSpPr>
              <p:cNvPr id="41" name="Rounded Rectangle 41"/>
              <p:cNvSpPr/>
              <p:nvPr/>
            </p:nvSpPr>
            <p:spPr bwMode="auto">
              <a:xfrm>
                <a:off x="-465829" y="3695369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da-DK" sz="1967">
                  <a:latin typeface="HelveticaNeueLT Std Lt Cn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2455735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rt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BBCAF46D-9983-4AEE-9B8A-24654CDEDDB0}"/>
              </a:ext>
            </a:extLst>
          </p:cNvPr>
          <p:cNvSpPr/>
          <p:nvPr userDrawn="1"/>
        </p:nvSpPr>
        <p:spPr>
          <a:xfrm>
            <a:off x="0" y="0"/>
            <a:ext cx="9142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700212"/>
            <a:ext cx="7551758" cy="4141785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94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9" name="text" descr="{&quot;templafy&quot;:{&quot;id&quot;:&quot;50f2ffad-a02f-4e85-a03f-297ad5f69ff5&quot;}}" title="UserProfile.Institut.Institute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2" y="245042"/>
            <a:ext cx="4263628" cy="284778"/>
          </a:xfrm>
          <a:prstGeom prst="rect">
            <a:avLst/>
          </a:prstGeom>
          <a:noFill/>
        </p:spPr>
        <p:txBody>
          <a:bodyPr wrap="square" lIns="10800" tIns="0" rIns="0" bIns="9000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50">
                <a:solidFill>
                  <a:schemeClr val="bg1"/>
                </a:solidFill>
              </a:rPr>
              <a:t>Rektorsekretariatet</a:t>
            </a:r>
          </a:p>
        </p:txBody>
      </p:sp>
      <p:sp>
        <p:nvSpPr>
          <p:cNvPr id="20" name="sdu.dk">
            <a:extLst>
              <a:ext uri="{FF2B5EF4-FFF2-40B4-BE49-F238E27FC236}">
                <a16:creationId xmlns:a16="http://schemas.microsoft.com/office/drawing/2014/main" id="{4B84D86E-3D20-4505-8DAD-8EB1F3E63B0A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bg1"/>
                </a:solidFill>
              </a:rPr>
              <a:t>SDU.dk</a:t>
            </a:r>
            <a:endParaRPr lang="da-DK"/>
          </a:p>
        </p:txBody>
      </p:sp>
      <p:sp>
        <p:nvSpPr>
          <p:cNvPr id="21" name="#sdudk">
            <a:extLst>
              <a:ext uri="{FF2B5EF4-FFF2-40B4-BE49-F238E27FC236}">
                <a16:creationId xmlns:a16="http://schemas.microsoft.com/office/drawing/2014/main" id="{B58A6A9A-5E98-43AC-8CA5-F6C4B0573364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bg1"/>
                </a:solidFill>
              </a:rPr>
              <a:t>#SDUdk</a:t>
            </a:r>
            <a:endParaRPr lang="da-DK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739632-1CD3-47C1-98D9-4B1B2253C7C9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3623"/>
            <a:ext cx="52440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" descr="{&quot;templafy&quot;:{&quot;id&quot;:&quot;3a1a3219-e533-46ec-bb28-2d1551d1e688&quot;}}" title="Form.Date">
            <a:extLst>
              <a:ext uri="{FF2B5EF4-FFF2-40B4-BE49-F238E27FC236}">
                <a16:creationId xmlns:a16="http://schemas.microsoft.com/office/drawing/2014/main" id="{10301B40-E355-4D99-B296-A15FB5BC3A4C}"/>
              </a:ext>
            </a:extLst>
          </p:cNvPr>
          <p:cNvSpPr/>
          <p:nvPr userDrawn="1"/>
        </p:nvSpPr>
        <p:spPr>
          <a:xfrm>
            <a:off x="6867027" y="6463691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da-DK" sz="1200" b="0">
                <a:solidFill>
                  <a:schemeClr val="bg1"/>
                </a:solidFill>
              </a:rPr>
              <a:t>oktober 2019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2C9E90-37DD-4C1A-AB21-3AF2DA430E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257" y="6375535"/>
            <a:ext cx="800713" cy="225677"/>
          </a:xfrm>
          <a:prstGeom prst="rect">
            <a:avLst/>
          </a:prstGeom>
        </p:spPr>
      </p:pic>
      <p:sp>
        <p:nvSpPr>
          <p:cNvPr id="16" name="Rektangel 28">
            <a:extLst>
              <a:ext uri="{FF2B5EF4-FFF2-40B4-BE49-F238E27FC236}">
                <a16:creationId xmlns:a16="http://schemas.microsoft.com/office/drawing/2014/main" id="{04E53DD6-CCFB-4840-9F06-8C3569BF0652}"/>
              </a:ext>
            </a:extLst>
          </p:cNvPr>
          <p:cNvSpPr/>
          <p:nvPr userDrawn="1"/>
        </p:nvSpPr>
        <p:spPr>
          <a:xfrm>
            <a:off x="7625750" y="35919"/>
            <a:ext cx="1133115" cy="352791"/>
          </a:xfrm>
          <a:prstGeom prst="rect">
            <a:avLst/>
          </a:prstGeom>
          <a:solidFill>
            <a:schemeClr val="bg1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>
                <a:solidFill>
                  <a:schemeClr val="tx1"/>
                </a:solidFill>
              </a:rPr>
              <a:t>FORTROLIGT</a:t>
            </a:r>
          </a:p>
        </p:txBody>
      </p:sp>
    </p:spTree>
    <p:extLst>
      <p:ext uri="{BB962C8B-B14F-4D97-AF65-F5344CB8AC3E}">
        <p14:creationId xmlns:p14="http://schemas.microsoft.com/office/powerpoint/2010/main" val="2619451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d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699200"/>
            <a:ext cx="7551758" cy="41428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9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</p:spTree>
    <p:extLst>
      <p:ext uri="{BB962C8B-B14F-4D97-AF65-F5344CB8AC3E}">
        <p14:creationId xmlns:p14="http://schemas.microsoft.com/office/powerpoint/2010/main" val="40242352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7975" y="2221200"/>
            <a:ext cx="4025700" cy="362080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9" name="text" descr="{&quot;templafy&quot;:{&quot;id&quot;:&quot;18ed1d24-cb3b-4efb-a23d-d15f54a0a552&quot;}}" title="UserProfile.Institut.Institute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2" y="293275"/>
            <a:ext cx="4263628" cy="236303"/>
          </a:xfrm>
          <a:prstGeom prst="rect">
            <a:avLst/>
          </a:prstGeom>
          <a:noFill/>
        </p:spPr>
        <p:txBody>
          <a:bodyPr wrap="square" lIns="10800" tIns="0" rIns="0" bIns="900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50"/>
              <a:t>Rektorsekretariatet</a:t>
            </a:r>
          </a:p>
        </p:txBody>
      </p:sp>
      <p:sp>
        <p:nvSpPr>
          <p:cNvPr id="12" name="date" descr="{&quot;templafy&quot;:{&quot;id&quot;:&quot;4cc932fd-8c20-4edc-a4f0-154189b11e58&quot;}}" title="Form.Date">
            <a:extLst>
              <a:ext uri="{FF2B5EF4-FFF2-40B4-BE49-F238E27FC236}">
                <a16:creationId xmlns:a16="http://schemas.microsoft.com/office/drawing/2014/main" id="{508E925B-663E-4A1A-8916-BC4FCFEA746C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da-DK" sz="1200" b="0">
                <a:solidFill>
                  <a:schemeClr val="tx1"/>
                </a:solidFill>
              </a:rPr>
              <a:t>september 2019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2565F4-7FB3-4F2B-AED8-4859D42935AE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A926880-EFD3-4E03-AD41-B5DEE1001487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>
            <a:extLst>
              <a:ext uri="{FF2B5EF4-FFF2-40B4-BE49-F238E27FC236}">
                <a16:creationId xmlns:a16="http://schemas.microsoft.com/office/drawing/2014/main" id="{8CDE456A-3D3A-4660-B621-87E808BE7F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18" name="sdu.dk">
            <a:extLst>
              <a:ext uri="{FF2B5EF4-FFF2-40B4-BE49-F238E27FC236}">
                <a16:creationId xmlns:a16="http://schemas.microsoft.com/office/drawing/2014/main" id="{6C8DAC0B-B30A-4593-8919-5508EB9A14CB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SDU.dk</a:t>
            </a:r>
            <a:endParaRPr lang="da-DK"/>
          </a:p>
        </p:txBody>
      </p:sp>
      <p:sp>
        <p:nvSpPr>
          <p:cNvPr id="22" name="#sdudk">
            <a:extLst>
              <a:ext uri="{FF2B5EF4-FFF2-40B4-BE49-F238E27FC236}">
                <a16:creationId xmlns:a16="http://schemas.microsoft.com/office/drawing/2014/main" id="{75CC3EE1-0472-467D-B6AF-AD454628F83D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#SDUdk</a:t>
            </a:r>
            <a:endParaRPr lang="da-DK"/>
          </a:p>
        </p:txBody>
      </p:sp>
      <p:sp>
        <p:nvSpPr>
          <p:cNvPr id="13" name="Rektangel 28">
            <a:extLst>
              <a:ext uri="{FF2B5EF4-FFF2-40B4-BE49-F238E27FC236}">
                <a16:creationId xmlns:a16="http://schemas.microsoft.com/office/drawing/2014/main" id="{A9EA7C7A-A4D7-49BE-A352-F72C6E5379D9}"/>
              </a:ext>
            </a:extLst>
          </p:cNvPr>
          <p:cNvSpPr/>
          <p:nvPr userDrawn="1"/>
        </p:nvSpPr>
        <p:spPr>
          <a:xfrm>
            <a:off x="7625750" y="35919"/>
            <a:ext cx="1133115" cy="352791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>
                <a:solidFill>
                  <a:schemeClr val="tx1"/>
                </a:solidFill>
              </a:rPr>
              <a:t>FORTROLIGT</a:t>
            </a:r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31632B33-5128-4332-A931-252CE2C2CE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495390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6"/>
            <a:ext cx="4025700" cy="414178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915360E-F247-49FB-821B-5399F13264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4EB576-C3BD-40C7-A696-33E1091F31D7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F606634-4CB0-4592-B65F-38B7D3B489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05554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d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699200"/>
            <a:ext cx="7551758" cy="41428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9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3" name="Date Placeholder 14">
            <a:extLst>
              <a:ext uri="{FF2B5EF4-FFF2-40B4-BE49-F238E27FC236}">
                <a16:creationId xmlns:a16="http://schemas.microsoft.com/office/drawing/2014/main" id="{5161ABAB-6DB4-433A-ACC8-A0EC0AACAD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14" name="Date Placeholder 14">
            <a:extLst>
              <a:ext uri="{FF2B5EF4-FFF2-40B4-BE49-F238E27FC236}">
                <a16:creationId xmlns:a16="http://schemas.microsoft.com/office/drawing/2014/main" id="{BC3A8B03-9EA5-416E-BD54-B87E6C4A6781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</p:spTree>
    <p:extLst>
      <p:ext uri="{BB962C8B-B14F-4D97-AF65-F5344CB8AC3E}">
        <p14:creationId xmlns:p14="http://schemas.microsoft.com/office/powerpoint/2010/main" val="3190335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22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41ADC-5992-4476-8E55-8A709AA1B4B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05017" y="1700212"/>
            <a:ext cx="3520440" cy="41417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D490B9-04D5-4C98-9BAE-36CAE61DE34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B802697-99B7-47F7-9BCE-0C0CD289094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9475509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C1A9A-6ADC-4F72-A312-ED1DBEF01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1620000"/>
            <a:ext cx="4024700" cy="188428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17000" y="1028246"/>
            <a:ext cx="3912300" cy="48253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9" name="date" descr="{&quot;templafy&quot;:{&quot;id&quot;:&quot;f15d5763-138b-47e8-9e02-822dd7741f89&quot;}}" title="Form.Date">
            <a:extLst>
              <a:ext uri="{FF2B5EF4-FFF2-40B4-BE49-F238E27FC236}">
                <a16:creationId xmlns:a16="http://schemas.microsoft.com/office/drawing/2014/main" id="{38150A77-BE4E-404D-B314-A1C41C791C1B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da-DK" sz="1200" b="0">
                <a:solidFill>
                  <a:schemeClr val="tx1"/>
                </a:solidFill>
              </a:rPr>
              <a:t>september 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6ECF2D-BB4C-4004-9F8E-08239A46461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9C8F72-579D-43D7-829B-18B6120E3E1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F3674BB-927D-4D04-9F00-C70E905A0C4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501838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C1A9A-6ADC-4F72-A312-ED1DBEF01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0" y="1016000"/>
            <a:ext cx="8221499" cy="68421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07800" y="1989138"/>
            <a:ext cx="8221500" cy="38644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6ECF2D-BB4C-4004-9F8E-08239A46461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9C8F72-579D-43D7-829B-18B6120E3E1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B13A350-15E0-4379-AC4B-BFC6A2DF75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1089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9151" y="1633533"/>
            <a:ext cx="3510000" cy="124473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B99C08-64C3-4ADA-9CD2-FBE2ED8551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9" name="text" descr="{&quot;templafy&quot;:{&quot;id&quot;:&quot;68978d83-2233-4014-ad96-65ec983305c6&quot;}}" title="UserProfile.Institut.Institute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2" y="293275"/>
            <a:ext cx="4263628" cy="236303"/>
          </a:xfrm>
          <a:prstGeom prst="rect">
            <a:avLst/>
          </a:prstGeom>
          <a:noFill/>
        </p:spPr>
        <p:txBody>
          <a:bodyPr wrap="square" lIns="10800" tIns="0" rIns="0" bIns="900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50"/>
              <a:t>Rektorsekretariatet</a:t>
            </a:r>
          </a:p>
        </p:txBody>
      </p:sp>
      <p:sp>
        <p:nvSpPr>
          <p:cNvPr id="15" name="date" descr="{&quot;templafy&quot;:{&quot;id&quot;:&quot;9ea8b007-6df6-4e17-bc49-652efeb8ce78&quot;}}" title="Form.Date">
            <a:extLst>
              <a:ext uri="{FF2B5EF4-FFF2-40B4-BE49-F238E27FC236}">
                <a16:creationId xmlns:a16="http://schemas.microsoft.com/office/drawing/2014/main" id="{6189AE65-D68D-4102-AA1D-2A3BCB6F21BF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da-DK" sz="1200" b="0">
                <a:solidFill>
                  <a:schemeClr val="tx1"/>
                </a:solidFill>
              </a:rPr>
              <a:t>september 2019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8FEE58-0FE9-4218-904C-188D46CD214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6824" y="1000450"/>
            <a:ext cx="3808024" cy="48531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F36464C-AEF7-4BFD-9A97-813102BCA48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8551AC97-9031-4CC7-955F-C81EC8BE45E2}"/>
              </a:ext>
            </a:extLst>
          </p:cNvPr>
          <p:cNvCxnSpPr>
            <a:cxnSpLocks/>
          </p:cNvCxnSpPr>
          <p:nvPr userDrawn="1"/>
        </p:nvCxnSpPr>
        <p:spPr>
          <a:xfrm>
            <a:off x="307801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FC0256C1-93B3-4768-8249-4CDA30556E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26" name="sdu.dk">
            <a:extLst>
              <a:ext uri="{FF2B5EF4-FFF2-40B4-BE49-F238E27FC236}">
                <a16:creationId xmlns:a16="http://schemas.microsoft.com/office/drawing/2014/main" id="{E10468DB-C1E5-43E3-8103-A93D3C0BA409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SDU.dk</a:t>
            </a:r>
            <a:endParaRPr lang="da-DK"/>
          </a:p>
        </p:txBody>
      </p:sp>
      <p:sp>
        <p:nvSpPr>
          <p:cNvPr id="27" name="#sdudk">
            <a:extLst>
              <a:ext uri="{FF2B5EF4-FFF2-40B4-BE49-F238E27FC236}">
                <a16:creationId xmlns:a16="http://schemas.microsoft.com/office/drawing/2014/main" id="{BA1E852F-9EE9-4889-AA2E-46B9BD847D08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#SDUdk</a:t>
            </a:r>
            <a:endParaRPr lang="da-DK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D3F04E1F-B899-4D8C-B699-8C5E24C7ED69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EF9A674D-023A-4355-BC45-0F1198907C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80308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B9A67-E62D-400C-BC42-A3A96AAED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809172"/>
            <a:ext cx="1876500" cy="4320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</a:lstStyle>
          <a:p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0E8CAC-51BD-4862-8B6E-BD3E315677C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83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5135A09-8F8A-4D87-8C43-B3A0A80BE2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54873" y="809171"/>
            <a:ext cx="1876500" cy="432000"/>
          </a:xfrm>
        </p:spPr>
        <p:txBody>
          <a:bodyPr/>
          <a:lstStyle>
            <a:lvl1pPr marL="0" indent="0" algn="l">
              <a:buNone/>
              <a:defRPr sz="1200" b="1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62D92C6-668E-491E-B394-72897FAB30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4548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0F1B1F1-CA40-4EA4-AB68-69DBBD61ED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01372" y="809171"/>
            <a:ext cx="1876500" cy="432000"/>
          </a:xfrm>
        </p:spPr>
        <p:txBody>
          <a:bodyPr/>
          <a:lstStyle>
            <a:lvl1pPr marL="0" indent="0">
              <a:buNone/>
              <a:defRPr sz="1200" b="1"/>
            </a:lvl1pPr>
            <a:lvl2pPr marL="251988" indent="0">
              <a:buNone/>
              <a:defRPr/>
            </a:lvl2pPr>
          </a:lstStyle>
          <a:p>
            <a:pPr lvl="0"/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DBEE0FF-2C0E-499E-ACAF-B6F421AF13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013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091117C-5AED-4416-88BA-F1C88ACD7A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7871" y="809172"/>
            <a:ext cx="1876500" cy="432000"/>
          </a:xfrm>
        </p:spPr>
        <p:txBody>
          <a:bodyPr/>
          <a:lstStyle>
            <a:lvl1pPr marL="0" indent="0">
              <a:buNone/>
              <a:defRPr sz="1200" b="1"/>
            </a:lvl1pPr>
            <a:lvl2pPr marL="251988" indent="0">
              <a:buNone/>
              <a:defRPr/>
            </a:lvl2pPr>
          </a:lstStyle>
          <a:p>
            <a:pPr lvl="0"/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66F31E1-769E-4E9A-9DCC-2C64321A89C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47874" y="1256278"/>
            <a:ext cx="1876499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46E2E0-2E23-491A-B165-353CDF3F79E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9D766322-557F-43E5-8623-C0B46C1566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03832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2" y="0"/>
            <a:ext cx="4574475" cy="6858000"/>
          </a:xfrm>
          <a:solidFill>
            <a:schemeClr val="bg1"/>
          </a:solidFill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9300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4" name="text" descr="{&quot;templafy&quot;:{&quot;id&quot;:&quot;541f7168-b77c-431b-b178-df1866977a60&quot;}}" title="UserProfile.Institut.InstituteDCU_{{DocumentLanguage}}">
            <a:extLst>
              <a:ext uri="{FF2B5EF4-FFF2-40B4-BE49-F238E27FC236}">
                <a16:creationId xmlns:a16="http://schemas.microsoft.com/office/drawing/2014/main" id="{060969B2-E177-4704-95D4-119A98BB90C5}"/>
              </a:ext>
            </a:extLst>
          </p:cNvPr>
          <p:cNvSpPr txBox="1">
            <a:spLocks/>
          </p:cNvSpPr>
          <p:nvPr userDrawn="1"/>
        </p:nvSpPr>
        <p:spPr>
          <a:xfrm>
            <a:off x="5019300" y="51614"/>
            <a:ext cx="3510000" cy="478677"/>
          </a:xfrm>
          <a:prstGeom prst="rect">
            <a:avLst/>
          </a:prstGeom>
          <a:noFill/>
        </p:spPr>
        <p:txBody>
          <a:bodyPr wrap="square" lIns="0" tIns="0" rIns="0" bIns="9000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sz="1050"/>
              <a:t>Rektorsekretariatet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68D6574-D545-4AC1-804C-76EBF3BEC544}"/>
              </a:ext>
            </a:extLst>
          </p:cNvPr>
          <p:cNvCxnSpPr>
            <a:cxnSpLocks/>
          </p:cNvCxnSpPr>
          <p:nvPr userDrawn="1"/>
        </p:nvCxnSpPr>
        <p:spPr>
          <a:xfrm>
            <a:off x="5018728" y="482400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" descr="{&quot;templafy&quot;:{&quot;id&quot;:&quot;9dad7c02-d070-4d07-8d4e-0521471bf2d8&quot;}}" title="Form.Date">
            <a:extLst>
              <a:ext uri="{FF2B5EF4-FFF2-40B4-BE49-F238E27FC236}">
                <a16:creationId xmlns:a16="http://schemas.microsoft.com/office/drawing/2014/main" id="{38150A77-BE4E-404D-B314-A1C41C791C1B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da-DK" sz="1200" b="0">
                <a:solidFill>
                  <a:schemeClr val="tx1"/>
                </a:solidFill>
              </a:rPr>
              <a:t>september 2019</a:t>
            </a:r>
          </a:p>
        </p:txBody>
      </p:sp>
      <p:sp>
        <p:nvSpPr>
          <p:cNvPr id="30" name="Date Placeholder 14">
            <a:extLst>
              <a:ext uri="{FF2B5EF4-FFF2-40B4-BE49-F238E27FC236}">
                <a16:creationId xmlns:a16="http://schemas.microsoft.com/office/drawing/2014/main" id="{2C4B35A0-F8F7-420F-9E06-CC0AAAA0B84F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B9BB03FB-BC65-4B73-9B66-32507EBF13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8728" y="6381356"/>
            <a:ext cx="797663" cy="225677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EFD876A3-4F24-4834-9FFF-7E8AD294562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19151" y="1633533"/>
            <a:ext cx="3510000" cy="124473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435D18C-F049-45BC-9DD0-BCABC1798FE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sp>
        <p:nvSpPr>
          <p:cNvPr id="11" name="sdu.dk">
            <a:extLst>
              <a:ext uri="{FF2B5EF4-FFF2-40B4-BE49-F238E27FC236}">
                <a16:creationId xmlns:a16="http://schemas.microsoft.com/office/drawing/2014/main" id="{E104C035-217A-42D1-9683-2601433D8C2F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SDU.dk</a:t>
            </a:r>
            <a:endParaRPr lang="da-DK"/>
          </a:p>
        </p:txBody>
      </p:sp>
      <p:sp>
        <p:nvSpPr>
          <p:cNvPr id="13" name="#sdudk">
            <a:extLst>
              <a:ext uri="{FF2B5EF4-FFF2-40B4-BE49-F238E27FC236}">
                <a16:creationId xmlns:a16="http://schemas.microsoft.com/office/drawing/2014/main" id="{C18994E3-0B00-4329-9B53-BB93E9AA623E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#SDUdk</a:t>
            </a:r>
            <a:endParaRPr lang="da-DK"/>
          </a:p>
        </p:txBody>
      </p:sp>
      <p:sp>
        <p:nvSpPr>
          <p:cNvPr id="15" name="Rektangel 28">
            <a:extLst>
              <a:ext uri="{FF2B5EF4-FFF2-40B4-BE49-F238E27FC236}">
                <a16:creationId xmlns:a16="http://schemas.microsoft.com/office/drawing/2014/main" id="{06CFDE33-C27A-47D1-ADBF-8E0420D870E9}"/>
              </a:ext>
            </a:extLst>
          </p:cNvPr>
          <p:cNvSpPr/>
          <p:nvPr userDrawn="1"/>
        </p:nvSpPr>
        <p:spPr>
          <a:xfrm>
            <a:off x="7625750" y="35919"/>
            <a:ext cx="1133115" cy="352791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>
                <a:solidFill>
                  <a:schemeClr val="tx1"/>
                </a:solidFill>
              </a:rPr>
              <a:t>FORTROLIGT</a:t>
            </a:r>
          </a:p>
        </p:txBody>
      </p:sp>
    </p:spTree>
    <p:extLst>
      <p:ext uri="{BB962C8B-B14F-4D97-AF65-F5344CB8AC3E}">
        <p14:creationId xmlns:p14="http://schemas.microsoft.com/office/powerpoint/2010/main" val="40071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og tekst (C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032802" y="2003078"/>
            <a:ext cx="3507803" cy="1373041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Overskrift i </a:t>
            </a:r>
            <a:r>
              <a:rPr lang="da-DK" err="1"/>
              <a:t>maks</a:t>
            </a:r>
            <a:r>
              <a:rPr lang="da-DK"/>
              <a:t> 2 linj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FAAEFF0-FCE4-48D6-A0D1-A458F3CD3E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21E6D3-406B-4DA0-9B5A-6A2F208BAF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800" y="1204110"/>
            <a:ext cx="3494458" cy="790493"/>
          </a:xfrm>
        </p:spPr>
        <p:txBody>
          <a:bodyPr anchor="b" anchorCtr="0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da-DK"/>
              <a:t>Klik for at indsætte tekst (f.eks. job titel)</a:t>
            </a:r>
          </a:p>
        </p:txBody>
      </p:sp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308376" y="1016000"/>
            <a:ext cx="3032909" cy="4804038"/>
          </a:xfrm>
          <a:noFill/>
        </p:spPr>
        <p:txBody>
          <a:bodyPr/>
          <a:lstStyle>
            <a:lvl1pPr marL="0" indent="0" algn="ctr">
              <a:buNone/>
              <a:defRPr sz="11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31645F-3EEE-4ACC-9DE8-38B996FFAD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C1D70FD-38F1-46F9-B7F9-51176E935F50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's farve palette eller fra den brugerdefinerede farvepalette</a:t>
            </a:r>
            <a:endParaRPr lang="da-DK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6BE3B0E-6A42-4148-AC66-FA12BC0E37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037427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4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20C039-324F-433E-90A2-B9FAD2872E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F91CDD8-F125-4A35-872E-713802788FB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22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E48A1A4-486D-4990-B7E4-69F78067D8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133159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FA71C01-3350-42F9-9392-0F3379095A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608454" y="1700213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0A09C85-3CCC-44AB-A808-AA96845B1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08454" y="2695029"/>
            <a:ext cx="2990094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800" b="1"/>
            </a:lvl1pPr>
            <a:lvl2pPr marL="251988">
              <a:defRPr sz="1100"/>
            </a:lvl2pPr>
            <a:lvl3pPr marL="503974">
              <a:defRPr sz="1050"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endParaRPr lang="da-DK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F35B7FD-E0E2-4581-BAC7-8858E530AFE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609277" y="3849060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2C92166-E723-47D5-9A87-3354EB28C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607860" y="4869330"/>
            <a:ext cx="2990093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251988" indent="0">
              <a:buNone/>
              <a:defRPr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E23DA26-37CC-4CA7-8253-FD9AB459D2E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562099" y="1700213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  <a:lvl2pPr marL="251988" indent="0">
              <a:buNone/>
              <a:defRPr sz="1000"/>
            </a:lvl2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2682726-03AB-4490-8664-993881FA0B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62099" y="2694300"/>
            <a:ext cx="2990095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503974">
              <a:defRPr sz="1050"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62625AB-198B-4F37-9382-C78FD9118D5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62099" y="3849060"/>
            <a:ext cx="936000" cy="936000"/>
          </a:xfrm>
        </p:spPr>
        <p:txBody>
          <a:bodyPr wrap="none"/>
          <a:lstStyle>
            <a:lvl1pPr marL="0" indent="0">
              <a:buNone/>
              <a:defRPr sz="800"/>
            </a:lvl1pPr>
          </a:lstStyle>
          <a:p>
            <a:pPr lvl="0"/>
            <a:r>
              <a:rPr lang="da-DK"/>
              <a:t>Indsæt logo: Vælg pladsholderen, indsæt logo via Templafy/Bille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8AE7F93-F2C6-4199-8D16-CFB4D977F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562099" y="4869330"/>
            <a:ext cx="2990092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600" b="1"/>
            </a:lvl1pPr>
            <a:lvl2pPr marL="251988">
              <a:defRPr sz="1100"/>
            </a:lvl2pPr>
            <a:lvl3pPr marL="503974">
              <a:defRPr/>
            </a:lvl3pPr>
          </a:lstStyle>
          <a:p>
            <a:pPr lvl="0"/>
            <a:r>
              <a:rPr lang="da-DK"/>
              <a:t>Klik for at tilføje overskrif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4D261F-AFF9-422D-9FB3-5AE92F195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8DE24AE7-E01E-4108-B332-6D4F4914F6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750859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5FCEDFC-AE26-4F9F-9153-18371906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86700" y="6465600"/>
            <a:ext cx="1680324" cy="180000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E9B44DD-5439-4457-BCA6-2324E90AE9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22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DAC7825-A8E9-42BC-BEF8-F6B4AA84F0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869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7975" y="2221200"/>
            <a:ext cx="4025700" cy="3620805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7" name="Date Placeholder 14">
            <a:extLst>
              <a:ext uri="{FF2B5EF4-FFF2-40B4-BE49-F238E27FC236}">
                <a16:creationId xmlns:a16="http://schemas.microsoft.com/office/drawing/2014/main" id="{D63CFED0-47FC-4852-81C1-6B705FD6417D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2565F4-7FB3-4F2B-AED8-4859D42935AE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CDE456A-3D3A-4660-B621-87E808BE7FF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918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255176"/>
              </p:ext>
            </p:extLst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BE6BC5F-2551-44C4-9BAC-3493518967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</a:pPr>
            <a:endParaRPr lang="en-GB" sz="36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403543" y="420951"/>
            <a:ext cx="8349502" cy="729182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3543" y="1545439"/>
            <a:ext cx="8349502" cy="4211077"/>
          </a:xfrm>
        </p:spPr>
        <p:txBody>
          <a:bodyPr/>
          <a:lstStyle>
            <a:lvl1pPr>
              <a:spcBef>
                <a:spcPts val="513"/>
              </a:spcBef>
              <a:spcAft>
                <a:spcPts val="0"/>
              </a:spcAft>
              <a:buClrTx/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spcBef>
                <a:spcPts val="513"/>
              </a:spcBef>
              <a:spcAft>
                <a:spcPts val="0"/>
              </a:spcAft>
              <a:buClrTx/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spcBef>
                <a:spcPts val="513"/>
              </a:spcBef>
              <a:spcAft>
                <a:spcPts val="0"/>
              </a:spcAft>
              <a:buClrTx/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spcBef>
                <a:spcPts val="513"/>
              </a:spcBef>
              <a:spcAft>
                <a:spcPts val="0"/>
              </a:spcAft>
              <a:buClrTx/>
              <a:defRPr lang="en-US" sz="1368" kern="1200" spc="-9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spcBef>
                <a:spcPts val="513"/>
              </a:spcBef>
              <a:spcAft>
                <a:spcPts val="0"/>
              </a:spcAft>
              <a:buClrTx/>
              <a:defRPr lang="en-GB" sz="1368" kern="1200" spc="-9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88701" y="6458504"/>
            <a:ext cx="3586468" cy="401616"/>
          </a:xfrm>
        </p:spPr>
        <p:txBody>
          <a:bodyPr tIns="35961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770" b="1" kern="1200" spc="-19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Insert source</a:t>
            </a:r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t>‹nr.›</a:t>
            </a:fld>
            <a:endParaRPr lang="en-GB"/>
          </a:p>
        </p:txBody>
      </p:sp>
      <p:sp>
        <p:nvSpPr>
          <p:cNvPr id="28" name="AutoShape 4"/>
          <p:cNvSpPr>
            <a:spLocks/>
          </p:cNvSpPr>
          <p:nvPr userDrawn="1"/>
        </p:nvSpPr>
        <p:spPr bwMode="gray">
          <a:xfrm>
            <a:off x="-2051999" y="2"/>
            <a:ext cx="1908516" cy="289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41" b="1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List with bullets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41" b="0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Text slide with bullets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3276" y="414683"/>
            <a:ext cx="1944023" cy="1459247"/>
          </a:xfrm>
          <a:prstGeom prst="rect">
            <a:avLst/>
          </a:prstGeom>
        </p:spPr>
      </p:pic>
      <p:sp>
        <p:nvSpPr>
          <p:cNvPr id="22" name="AutoShape 4"/>
          <p:cNvSpPr>
            <a:spLocks/>
          </p:cNvSpPr>
          <p:nvPr userDrawn="1"/>
        </p:nvSpPr>
        <p:spPr bwMode="gray">
          <a:xfrm>
            <a:off x="9252521" y="496341"/>
            <a:ext cx="1440161" cy="5791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ts val="0"/>
              </a:spcBef>
              <a:defRPr/>
            </a:pPr>
            <a:r>
              <a:rPr lang="en-GB" sz="941" b="1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Heading</a:t>
            </a:r>
          </a:p>
          <a:p>
            <a:pPr marL="0" indent="0" algn="l">
              <a:spcBef>
                <a:spcPts val="0"/>
              </a:spcBef>
              <a:buFont typeface="+mj-lt"/>
              <a:buNone/>
              <a:defRPr/>
            </a:pPr>
            <a:r>
              <a:rPr lang="en-GB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If your heading has two lines, delete the text box for the subheading</a:t>
            </a:r>
            <a:endParaRPr lang="en-GB" sz="941" kern="1200" noProof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Arial" pitchFamily="34" charset="0"/>
            </a:endParaRPr>
          </a:p>
        </p:txBody>
      </p:sp>
      <p:grpSp>
        <p:nvGrpSpPr>
          <p:cNvPr id="23" name="Group 25"/>
          <p:cNvGrpSpPr/>
          <p:nvPr userDrawn="1"/>
        </p:nvGrpSpPr>
        <p:grpSpPr>
          <a:xfrm>
            <a:off x="-1907998" y="1981961"/>
            <a:ext cx="1801661" cy="1324642"/>
            <a:chOff x="-2231300" y="2231625"/>
            <a:chExt cx="2106943" cy="1460479"/>
          </a:xfrm>
        </p:grpSpPr>
        <p:sp>
          <p:nvSpPr>
            <p:cNvPr id="25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001" cy="14366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To add preformatted bullets,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click the </a:t>
              </a: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Home</a:t>
              </a: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tab and select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Increase Indent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Click </a:t>
              </a: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Decrease Indent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b="0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to return to the previous list design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26" name="Group 36"/>
            <p:cNvGrpSpPr/>
            <p:nvPr userDrawn="1"/>
          </p:nvGrpSpPr>
          <p:grpSpPr>
            <a:xfrm>
              <a:off x="-544672" y="2787459"/>
              <a:ext cx="419742" cy="242548"/>
              <a:chOff x="-832082" y="3336845"/>
              <a:chExt cx="358924" cy="219989"/>
            </a:xfrm>
          </p:grpSpPr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336845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3" name="Rounded Rectangle 43"/>
              <p:cNvSpPr/>
              <p:nvPr/>
            </p:nvSpPr>
            <p:spPr bwMode="auto">
              <a:xfrm>
                <a:off x="-652694" y="3337761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 sz="1967">
                  <a:latin typeface="HelveticaNeueLT Std Lt Cn" pitchFamily="34" charset="0"/>
                </a:endParaRPr>
              </a:p>
            </p:txBody>
          </p:sp>
        </p:grpSp>
        <p:grpSp>
          <p:nvGrpSpPr>
            <p:cNvPr id="38" name="Group 38"/>
            <p:cNvGrpSpPr/>
            <p:nvPr userDrawn="1"/>
          </p:nvGrpSpPr>
          <p:grpSpPr>
            <a:xfrm>
              <a:off x="-531551" y="3446578"/>
              <a:ext cx="407194" cy="245526"/>
              <a:chOff x="-474298" y="3689019"/>
              <a:chExt cx="348194" cy="222690"/>
            </a:xfrm>
          </p:grpSpPr>
          <p:pic>
            <p:nvPicPr>
              <p:cNvPr id="39" name="Picture 3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689019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0" name="Rectangle 40"/>
              <p:cNvSpPr/>
              <p:nvPr/>
            </p:nvSpPr>
            <p:spPr bwMode="auto">
              <a:xfrm>
                <a:off x="-297554" y="3692193"/>
                <a:ext cx="171450" cy="211138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 sz="1967">
                  <a:latin typeface="HelveticaNeueLT Std Lt Cn" pitchFamily="34" charset="0"/>
                </a:endParaRPr>
              </a:p>
            </p:txBody>
          </p:sp>
          <p:sp>
            <p:nvSpPr>
              <p:cNvPr id="41" name="Rounded Rectangle 41"/>
              <p:cNvSpPr/>
              <p:nvPr/>
            </p:nvSpPr>
            <p:spPr bwMode="auto">
              <a:xfrm>
                <a:off x="-465829" y="3695369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 sz="1967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3543" y="754573"/>
            <a:ext cx="8349502" cy="306926"/>
          </a:xfrm>
        </p:spPr>
        <p:txBody>
          <a:bodyPr/>
          <a:lstStyle>
            <a:lvl1pPr marL="0" indent="0" algn="l">
              <a:buNone/>
              <a:defRPr sz="1539" cap="all" baseline="0">
                <a:solidFill>
                  <a:schemeClr val="tx1"/>
                </a:solidFill>
              </a:defRPr>
            </a:lvl1pPr>
            <a:lvl2pPr marL="390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1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1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2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2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3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3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720771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ing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7702896"/>
              </p:ext>
            </p:extLst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4C21081-C2D9-4FE1-97BE-1B543FBCEF4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</a:pPr>
            <a:endParaRPr lang="en-GB" sz="36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97515" y="419329"/>
            <a:ext cx="8354851" cy="729182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97515" y="757571"/>
            <a:ext cx="8354852" cy="306926"/>
          </a:xfrm>
        </p:spPr>
        <p:txBody>
          <a:bodyPr/>
          <a:lstStyle>
            <a:lvl1pPr marL="0" indent="0" algn="l">
              <a:buNone/>
              <a:defRPr sz="1539" cap="all" baseline="0">
                <a:solidFill>
                  <a:schemeClr val="tx1"/>
                </a:solidFill>
              </a:defRPr>
            </a:lvl1pPr>
            <a:lvl2pPr marL="390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1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1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2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2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3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3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Click to add subtitl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788701" y="6458504"/>
            <a:ext cx="3586468" cy="401616"/>
          </a:xfrm>
        </p:spPr>
        <p:txBody>
          <a:bodyPr tIns="35961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770" b="1" kern="1200" spc="-19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Insert source</a:t>
            </a:r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/>
              <a:pPr/>
              <a:t>‹nr.›</a:t>
            </a:fld>
            <a:endParaRPr lang="en-GB"/>
          </a:p>
        </p:txBody>
      </p:sp>
      <p:sp>
        <p:nvSpPr>
          <p:cNvPr id="10" name="AutoShape 4"/>
          <p:cNvSpPr>
            <a:spLocks/>
          </p:cNvSpPr>
          <p:nvPr userDrawn="1"/>
        </p:nvSpPr>
        <p:spPr bwMode="gray">
          <a:xfrm>
            <a:off x="-2051999" y="6"/>
            <a:ext cx="1908516" cy="144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41" b="1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Heading </a:t>
            </a:r>
            <a:endParaRPr lang="en-GB" altLang="da-DK" sz="941" b="0" noProof="1">
              <a:solidFill>
                <a:schemeClr val="tx2">
                  <a:lumMod val="75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3" name="AutoShape 4"/>
          <p:cNvSpPr>
            <a:spLocks/>
          </p:cNvSpPr>
          <p:nvPr userDrawn="1"/>
        </p:nvSpPr>
        <p:spPr bwMode="gray">
          <a:xfrm>
            <a:off x="9252521" y="496341"/>
            <a:ext cx="1440161" cy="5791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ts val="0"/>
              </a:spcBef>
              <a:defRPr/>
            </a:pPr>
            <a:r>
              <a:rPr lang="en-GB" sz="941" b="1" kern="1200" noProof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Heading</a:t>
            </a:r>
          </a:p>
          <a:p>
            <a:pPr marL="0" indent="0" algn="l">
              <a:spcBef>
                <a:spcPts val="0"/>
              </a:spcBef>
              <a:buFont typeface="+mj-lt"/>
              <a:buNone/>
              <a:defRPr/>
            </a:pPr>
            <a:r>
              <a:rPr lang="en-GB" sz="941" kern="1200" noProof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If your heading has two lines, delete the text box for the subheading</a:t>
            </a:r>
          </a:p>
        </p:txBody>
      </p:sp>
    </p:spTree>
    <p:extLst>
      <p:ext uri="{BB962C8B-B14F-4D97-AF65-F5344CB8AC3E}">
        <p14:creationId xmlns:p14="http://schemas.microsoft.com/office/powerpoint/2010/main" val="76964032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437277"/>
              </p:ext>
            </p:extLst>
          </p:nvPr>
        </p:nvGraphicFramePr>
        <p:xfrm>
          <a:off x="1358" y="1441"/>
          <a:ext cx="1357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58" y="1441"/>
                        <a:ext cx="1357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37C353-09A5-4AAC-A659-3F697CD7C29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35748" cy="143985"/>
          </a:xfrm>
          <a:prstGeom prst="rect">
            <a:avLst/>
          </a:prstGeom>
          <a:solidFill>
            <a:srgbClr val="1E2F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7000"/>
              </a:lnSpc>
              <a:spcBef>
                <a:spcPct val="0"/>
              </a:spcBef>
              <a:spcAft>
                <a:spcPct val="0"/>
              </a:spcAft>
            </a:pPr>
            <a:endParaRPr lang="en-GB" sz="36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403543" y="420322"/>
            <a:ext cx="8349502" cy="729182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add title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03543" y="1544425"/>
            <a:ext cx="8347158" cy="4212068"/>
          </a:xfrm>
        </p:spPr>
        <p:txBody>
          <a:bodyPr/>
          <a:lstStyle>
            <a:lvl1pPr marL="0" indent="0" algn="l" defTabSz="850513" rtl="0" eaLnBrk="1" latinLnBrk="0" hangingPunct="1">
              <a:lnSpc>
                <a:spcPct val="100000"/>
              </a:lnSpc>
              <a:spcBef>
                <a:spcPts val="513"/>
              </a:spcBef>
              <a:spcAft>
                <a:spcPts val="0"/>
              </a:spcAft>
              <a:buClrTx/>
              <a:buFont typeface="Arial" panose="020B0604020202020204" pitchFamily="34" charset="0"/>
              <a:buNone/>
              <a:defRPr lang="da-DK" sz="1368" kern="1200" spc="-9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881" algn="l" defTabSz="850513" rtl="0" eaLnBrk="1" latinLnBrk="0" hangingPunct="1">
              <a:lnSpc>
                <a:spcPct val="100000"/>
              </a:lnSpc>
              <a:spcBef>
                <a:spcPts val="513"/>
              </a:spcBef>
              <a:spcAft>
                <a:spcPts val="0"/>
              </a:spcAft>
              <a:buClrTx/>
              <a:buFont typeface="Arial" panose="020B0604020202020204" pitchFamily="34" charset="0"/>
              <a:defRPr lang="da-DK" sz="1368" kern="1200" spc="-9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99764" algn="l" defTabSz="850513" rtl="0" eaLnBrk="1" latinLnBrk="0" hangingPunct="1">
              <a:lnSpc>
                <a:spcPct val="100000"/>
              </a:lnSpc>
              <a:spcBef>
                <a:spcPts val="513"/>
              </a:spcBef>
              <a:spcAft>
                <a:spcPts val="0"/>
              </a:spcAft>
              <a:buClrTx/>
              <a:buFont typeface="Arial" panose="020B0604020202020204" pitchFamily="34" charset="0"/>
              <a:defRPr lang="da-DK" sz="1368" kern="1200" spc="-9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9645" algn="l" defTabSz="850513" rtl="0" eaLnBrk="1" latinLnBrk="0" hangingPunct="1">
              <a:lnSpc>
                <a:spcPct val="100000"/>
              </a:lnSpc>
              <a:spcBef>
                <a:spcPts val="513"/>
              </a:spcBef>
              <a:spcAft>
                <a:spcPts val="0"/>
              </a:spcAft>
              <a:buClrTx/>
              <a:buFont typeface="Arial" panose="020B0604020202020204" pitchFamily="34" charset="0"/>
              <a:defRPr lang="da-DK" sz="1368" kern="1200" spc="-9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99526" algn="l" defTabSz="850513" rtl="0" eaLnBrk="1" latinLnBrk="0" hangingPunct="1">
              <a:lnSpc>
                <a:spcPct val="100000"/>
              </a:lnSpc>
              <a:spcBef>
                <a:spcPts val="513"/>
              </a:spcBef>
              <a:spcAft>
                <a:spcPts val="0"/>
              </a:spcAft>
              <a:buClrTx/>
              <a:buFont typeface="Arial" panose="020B0604020202020204" pitchFamily="34" charset="0"/>
              <a:defRPr lang="da-DK" sz="1368" kern="1200" spc="-9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 noProof="0"/>
              <a:t>Click to add tex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6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788701" y="6458504"/>
            <a:ext cx="3586468" cy="401616"/>
          </a:xfrm>
        </p:spPr>
        <p:txBody>
          <a:bodyPr tIns="35961" anchor="t" anchorCtr="0"/>
          <a:lstStyle>
            <a:lvl1pPr marL="0" indent="0">
              <a:lnSpc>
                <a:spcPct val="83000"/>
              </a:lnSpc>
              <a:spcBef>
                <a:spcPts val="0"/>
              </a:spcBef>
              <a:buNone/>
              <a:defRPr lang="en-US" sz="770" b="1" kern="1200" spc="-19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GB" noProof="0"/>
              <a:t>Insert source</a:t>
            </a:r>
          </a:p>
        </p:txBody>
      </p:sp>
      <p:sp>
        <p:nvSpPr>
          <p:cNvPr id="5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4" name="AutoShape 4"/>
          <p:cNvSpPr>
            <a:spLocks/>
          </p:cNvSpPr>
          <p:nvPr userDrawn="1"/>
        </p:nvSpPr>
        <p:spPr bwMode="gray">
          <a:xfrm>
            <a:off x="-2051999" y="2"/>
            <a:ext cx="1908516" cy="289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spcBef>
                <a:spcPct val="20000"/>
              </a:spcBef>
              <a:buChar char="•"/>
              <a:tabLst>
                <a:tab pos="177800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spcBef>
                <a:spcPct val="20000"/>
              </a:spcBef>
              <a:buChar char="–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spcBef>
                <a:spcPct val="20000"/>
              </a:spcBef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tabLst>
                <a:tab pos="177800" algn="l"/>
              </a:tabLs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41" b="1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Text slide</a:t>
            </a:r>
          </a:p>
          <a:p>
            <a:pPr algn="r" eaLnBrk="1" hangingPunct="1">
              <a:spcBef>
                <a:spcPct val="0"/>
              </a:spcBef>
              <a:buFontTx/>
              <a:buNone/>
              <a:defRPr/>
            </a:pPr>
            <a:r>
              <a:rPr lang="en-GB" altLang="da-DK" sz="941" b="0" noProof="1">
                <a:solidFill>
                  <a:schemeClr val="tx2">
                    <a:lumMod val="75000"/>
                  </a:schemeClr>
                </a:solidFill>
                <a:latin typeface="+mn-lt"/>
                <a:cs typeface="Arial" charset="0"/>
              </a:rPr>
              <a:t>Text slide, one column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53276" y="414683"/>
            <a:ext cx="1944023" cy="1459247"/>
          </a:xfrm>
          <a:prstGeom prst="rect">
            <a:avLst/>
          </a:prstGeom>
        </p:spPr>
      </p:pic>
      <p:sp>
        <p:nvSpPr>
          <p:cNvPr id="22" name="AutoShape 4"/>
          <p:cNvSpPr>
            <a:spLocks/>
          </p:cNvSpPr>
          <p:nvPr userDrawn="1"/>
        </p:nvSpPr>
        <p:spPr bwMode="gray">
          <a:xfrm>
            <a:off x="9252521" y="496341"/>
            <a:ext cx="1440161" cy="5791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l">
              <a:spcBef>
                <a:spcPts val="0"/>
              </a:spcBef>
              <a:defRPr/>
            </a:pPr>
            <a:r>
              <a:rPr lang="en-GB" sz="941" b="1" kern="1200" noProof="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Heading</a:t>
            </a:r>
          </a:p>
          <a:p>
            <a:pPr marL="0" indent="0" algn="l">
              <a:spcBef>
                <a:spcPts val="0"/>
              </a:spcBef>
              <a:buFont typeface="+mj-lt"/>
              <a:buNone/>
              <a:defRPr/>
            </a:pPr>
            <a:r>
              <a:rPr lang="en-GB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pitchFamily="34" charset="0"/>
              </a:rPr>
              <a:t>If your heading has two lines, delete the text box for the subheading</a:t>
            </a:r>
            <a:endParaRPr lang="en-GB" sz="941" kern="1200" noProof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Arial" pitchFamily="34" charset="0"/>
            </a:endParaRPr>
          </a:p>
        </p:txBody>
      </p:sp>
      <p:grpSp>
        <p:nvGrpSpPr>
          <p:cNvPr id="24" name="Group 25"/>
          <p:cNvGrpSpPr/>
          <p:nvPr userDrawn="1"/>
        </p:nvGrpSpPr>
        <p:grpSpPr>
          <a:xfrm>
            <a:off x="-1907998" y="1981961"/>
            <a:ext cx="1801661" cy="1324642"/>
            <a:chOff x="-2231300" y="2231625"/>
            <a:chExt cx="2106943" cy="1460479"/>
          </a:xfrm>
        </p:grpSpPr>
        <p:sp>
          <p:nvSpPr>
            <p:cNvPr id="34" name="TextBox 17"/>
            <p:cNvSpPr txBox="1">
              <a:spLocks noChangeArrowheads="1"/>
            </p:cNvSpPr>
            <p:nvPr userDrawn="1"/>
          </p:nvSpPr>
          <p:spPr bwMode="auto">
            <a:xfrm>
              <a:off x="-2231300" y="2231625"/>
              <a:ext cx="2105001" cy="14366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To add preformatted bullets,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click the </a:t>
              </a: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Home</a:t>
              </a: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tab and select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Increase Indent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endParaRPr lang="en-GB" altLang="da-DK" sz="941" kern="1200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Arial" charset="0"/>
              </a:endParaRP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Click </a:t>
              </a: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Decrease Indent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b="0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to return to the previous list design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GB" altLang="da-DK" sz="941" b="1" kern="1200">
                  <a:solidFill>
                    <a:schemeClr val="tx2">
                      <a:lumMod val="75000"/>
                    </a:schemeClr>
                  </a:solidFill>
                  <a:latin typeface="+mn-lt"/>
                  <a:ea typeface="+mn-ea"/>
                  <a:cs typeface="Arial" charset="0"/>
                </a:rPr>
                <a:t> </a:t>
              </a:r>
            </a:p>
          </p:txBody>
        </p:sp>
        <p:grpSp>
          <p:nvGrpSpPr>
            <p:cNvPr id="37" name="Group 36"/>
            <p:cNvGrpSpPr/>
            <p:nvPr userDrawn="1"/>
          </p:nvGrpSpPr>
          <p:grpSpPr>
            <a:xfrm>
              <a:off x="-544672" y="2787459"/>
              <a:ext cx="419742" cy="242548"/>
              <a:chOff x="-832082" y="3336845"/>
              <a:chExt cx="358924" cy="219989"/>
            </a:xfrm>
          </p:grpSpPr>
          <p:pic>
            <p:nvPicPr>
              <p:cNvPr id="42" name="Picture 2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832082" y="3336845"/>
                <a:ext cx="358924" cy="219989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3" name="Rounded Rectangle 43"/>
              <p:cNvSpPr/>
              <p:nvPr/>
            </p:nvSpPr>
            <p:spPr bwMode="auto">
              <a:xfrm>
                <a:off x="-652694" y="3337761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 sz="1967">
                  <a:latin typeface="HelveticaNeueLT Std Lt Cn" pitchFamily="34" charset="0"/>
                </a:endParaRPr>
              </a:p>
            </p:txBody>
          </p:sp>
        </p:grpSp>
        <p:grpSp>
          <p:nvGrpSpPr>
            <p:cNvPr id="38" name="Group 38"/>
            <p:cNvGrpSpPr/>
            <p:nvPr userDrawn="1"/>
          </p:nvGrpSpPr>
          <p:grpSpPr>
            <a:xfrm>
              <a:off x="-531551" y="3446578"/>
              <a:ext cx="407194" cy="245526"/>
              <a:chOff x="-474298" y="3689019"/>
              <a:chExt cx="348194" cy="222690"/>
            </a:xfrm>
          </p:grpSpPr>
          <p:pic>
            <p:nvPicPr>
              <p:cNvPr id="39" name="Picture 3"/>
              <p:cNvPicPr>
                <a:picLocks noChangeAspect="1" noChangeArrowheads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474298" y="3689019"/>
                <a:ext cx="348194" cy="22269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0" name="Rectangle 40"/>
              <p:cNvSpPr/>
              <p:nvPr/>
            </p:nvSpPr>
            <p:spPr bwMode="auto">
              <a:xfrm>
                <a:off x="-297554" y="3692193"/>
                <a:ext cx="171450" cy="211138"/>
              </a:xfrm>
              <a:prstGeom prst="rect">
                <a:avLst/>
              </a:prstGeom>
              <a:solidFill>
                <a:srgbClr val="FFFFFF">
                  <a:alpha val="65882"/>
                </a:srgbClr>
              </a:solidFill>
              <a:ln w="31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 sz="1967">
                  <a:latin typeface="HelveticaNeueLT Std Lt Cn" pitchFamily="34" charset="0"/>
                </a:endParaRPr>
              </a:p>
            </p:txBody>
          </p:sp>
          <p:sp>
            <p:nvSpPr>
              <p:cNvPr id="41" name="Rounded Rectangle 41"/>
              <p:cNvSpPr/>
              <p:nvPr/>
            </p:nvSpPr>
            <p:spPr bwMode="auto">
              <a:xfrm>
                <a:off x="-465829" y="3695369"/>
                <a:ext cx="168275" cy="215900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 eaLnBrk="1">
                  <a:defRPr/>
                </a:pPr>
                <a:endParaRPr lang="en-GB" sz="1967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3543" y="754573"/>
            <a:ext cx="8349502" cy="306926"/>
          </a:xfrm>
        </p:spPr>
        <p:txBody>
          <a:bodyPr/>
          <a:lstStyle>
            <a:lvl1pPr marL="0" indent="0" algn="l">
              <a:buNone/>
              <a:defRPr sz="1539" cap="all" baseline="0">
                <a:solidFill>
                  <a:schemeClr val="tx1"/>
                </a:solidFill>
              </a:defRPr>
            </a:lvl1pPr>
            <a:lvl2pPr marL="3905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810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716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621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52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43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337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2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1522471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6"/>
            <a:ext cx="4025700" cy="414178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915360E-F247-49FB-821B-5399F13264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8" y="1000450"/>
            <a:ext cx="3713571" cy="4841557"/>
          </a:xfrm>
        </p:spPr>
        <p:txBody>
          <a:bodyPr tIns="72000"/>
          <a:lstStyle>
            <a:lvl1pPr marL="0" indent="0" algn="ctr">
              <a:buNone/>
              <a:defRPr sz="1200"/>
            </a:lvl1pPr>
          </a:lstStyle>
          <a:p>
            <a:r>
              <a:rPr lang="da-DK"/>
              <a:t>Vælg pladsholderen og indsæt billede via Templafy/Skyfish eller ikon eller logo via Templafy/Billeder</a:t>
            </a:r>
          </a:p>
        </p:txBody>
      </p:sp>
      <p:sp>
        <p:nvSpPr>
          <p:cNvPr id="7" name="Date Placeholder 14">
            <a:extLst>
              <a:ext uri="{FF2B5EF4-FFF2-40B4-BE49-F238E27FC236}">
                <a16:creationId xmlns:a16="http://schemas.microsoft.com/office/drawing/2014/main" id="{FB068F22-0263-44BB-8333-C5643293F3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8" name="Date Placeholder 14">
            <a:extLst>
              <a:ext uri="{FF2B5EF4-FFF2-40B4-BE49-F238E27FC236}">
                <a16:creationId xmlns:a16="http://schemas.microsoft.com/office/drawing/2014/main" id="{2D08A2CA-4B19-4B39-B540-F97244C446A4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B4EB576-C3BD-40C7-A696-33E1091F31D7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500346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620000"/>
            <a:ext cx="4025700" cy="4222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41ADC-5992-4476-8E55-8A709AA1B4B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05017" y="1700212"/>
            <a:ext cx="3520440" cy="41417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0" name="Date Placeholder 14">
            <a:extLst>
              <a:ext uri="{FF2B5EF4-FFF2-40B4-BE49-F238E27FC236}">
                <a16:creationId xmlns:a16="http://schemas.microsoft.com/office/drawing/2014/main" id="{BBCDE8CE-8147-4B12-B358-7B7ACA92FF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ACE2053-07AA-42FA-A789-E1430CAF798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CBB1C-1FE3-42F2-ACED-70B0664062B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09684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C1A9A-6ADC-4F72-A312-ED1DBEF01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1620000"/>
            <a:ext cx="4024700" cy="1884283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17000" y="1028246"/>
            <a:ext cx="3912300" cy="48253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F779A9-E4FE-4412-9D9E-BF5BF84D02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5949DE-6D77-480D-A4A9-E2E53BE1CE8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9C8F72-579D-43D7-829B-18B6120E3E1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177179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C1A9A-6ADC-4F72-A312-ED1DBEF01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0" y="1028246"/>
            <a:ext cx="8221499" cy="671967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307800" y="1989138"/>
            <a:ext cx="8221500" cy="38644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F779A9-E4FE-4412-9D9E-BF5BF84D02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5949DE-6D77-480D-A4A9-E2E53BE1CE8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A9C8F72-579D-43D7-829B-18B6120E3E14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97949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9151" y="1633533"/>
            <a:ext cx="3510000" cy="124473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4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tilføje 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B99C08-64C3-4ADA-9CD2-FBE2ED8551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A09FC7B4-885C-4F9D-BD71-AE2FBDB3869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8FEE58-0FE9-4218-904C-188D46CD214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6824" y="1000450"/>
            <a:ext cx="3808024" cy="48531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a-DK"/>
              <a:t>Klik for at tilføje tekst, klik ikon for at tilføje graf/tabel</a:t>
            </a:r>
          </a:p>
          <a:p>
            <a:pPr lvl="1"/>
            <a:r>
              <a:rPr lang="da-DK"/>
              <a:t>Second </a:t>
            </a:r>
            <a:r>
              <a:rPr lang="da-DK" err="1"/>
              <a:t>level</a:t>
            </a:r>
            <a:endParaRPr lang="da-DK"/>
          </a:p>
          <a:p>
            <a:pPr lvl="2"/>
            <a:r>
              <a:rPr lang="da-DK"/>
              <a:t>Third </a:t>
            </a:r>
            <a:r>
              <a:rPr lang="da-DK" err="1"/>
              <a:t>level</a:t>
            </a:r>
            <a:endParaRPr lang="da-DK"/>
          </a:p>
          <a:p>
            <a:pPr lvl="3"/>
            <a:r>
              <a:rPr lang="da-DK" err="1"/>
              <a:t>Fourth</a:t>
            </a:r>
            <a:r>
              <a:rPr lang="da-DK"/>
              <a:t> </a:t>
            </a:r>
            <a:r>
              <a:rPr lang="da-DK" err="1"/>
              <a:t>level</a:t>
            </a:r>
            <a:endParaRPr lang="da-DK"/>
          </a:p>
          <a:p>
            <a:pPr lvl="4"/>
            <a:r>
              <a:rPr lang="da-DK"/>
              <a:t>Fifth </a:t>
            </a:r>
            <a:r>
              <a:rPr lang="da-DK" err="1"/>
              <a:t>level</a:t>
            </a:r>
            <a:endParaRPr lang="da-DK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3F302217-B569-449A-8422-B6650C9B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58D7263E-B2E5-4CB9-9AAF-C0006E4A04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FC0256C1-93B3-4768-8249-4CDA30556E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D3F04E1F-B899-4D8C-B699-8C5E24C7ED69}"/>
              </a:ext>
            </a:extLst>
          </p:cNvPr>
          <p:cNvSpPr txBox="1"/>
          <p:nvPr userDrawn="1"/>
        </p:nvSpPr>
        <p:spPr>
          <a:xfrm>
            <a:off x="4" y="-350035"/>
            <a:ext cx="9094691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1000" b="1" noProof="1"/>
              <a:t>Skift baggrundsfarve. </a:t>
            </a:r>
            <a:r>
              <a:rPr lang="da-DK" sz="1000" noProof="1"/>
              <a:t>Højreklik på slidet og vælg </a:t>
            </a:r>
            <a:r>
              <a:rPr lang="da-DK" sz="1000" b="1" noProof="1"/>
              <a:t>Formatér baggrund</a:t>
            </a:r>
            <a:r>
              <a:rPr lang="da-DK" sz="1000" noProof="1"/>
              <a:t>. Klik på </a:t>
            </a:r>
            <a:r>
              <a:rPr lang="da-DK" sz="1000" b="1" noProof="1"/>
              <a:t>Fyld farve </a:t>
            </a:r>
            <a:r>
              <a:rPr lang="da-DK" sz="1000" noProof="1"/>
              <a:t>i Formater baggrund vinduet og vælg farve fra øverste række i SDU’s farve palette eller fra den brugerdefinerede farvepalett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5443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B9A67-E62D-400C-BC42-A3A96AAED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809172"/>
            <a:ext cx="1876500" cy="432000"/>
          </a:xfrm>
        </p:spPr>
        <p:txBody>
          <a:bodyPr/>
          <a:lstStyle>
            <a:lvl1pPr>
              <a:lnSpc>
                <a:spcPct val="110000"/>
              </a:lnSpc>
              <a:defRPr sz="1200"/>
            </a:lvl1pPr>
          </a:lstStyle>
          <a:p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0E8CAC-51BD-4862-8B6E-BD3E315677C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83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5135A09-8F8A-4D87-8C43-B3A0A80BE2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54873" y="809171"/>
            <a:ext cx="1876500" cy="432000"/>
          </a:xfrm>
        </p:spPr>
        <p:txBody>
          <a:bodyPr/>
          <a:lstStyle>
            <a:lvl1pPr marL="0" indent="0" algn="l">
              <a:buNone/>
              <a:defRPr sz="1200" b="1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62D92C6-668E-491E-B394-72897FAB30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4548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0F1B1F1-CA40-4EA4-AB68-69DBBD61ED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01372" y="809171"/>
            <a:ext cx="1876500" cy="432000"/>
          </a:xfrm>
        </p:spPr>
        <p:txBody>
          <a:bodyPr/>
          <a:lstStyle>
            <a:lvl1pPr marL="0" indent="0">
              <a:buNone/>
              <a:defRPr sz="1200" b="1"/>
            </a:lvl1pPr>
            <a:lvl2pPr marL="251988" indent="0">
              <a:buNone/>
              <a:defRPr/>
            </a:lvl2pPr>
          </a:lstStyle>
          <a:p>
            <a:pPr lvl="0"/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DBEE0FF-2C0E-499E-ACAF-B6F421AF13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01372" y="1256278"/>
            <a:ext cx="1876500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091117C-5AED-4416-88BA-F1C88ACD7A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7871" y="809172"/>
            <a:ext cx="1876500" cy="432000"/>
          </a:xfrm>
        </p:spPr>
        <p:txBody>
          <a:bodyPr/>
          <a:lstStyle>
            <a:lvl1pPr marL="0" indent="0">
              <a:buNone/>
              <a:defRPr sz="1200" b="1"/>
            </a:lvl1pPr>
            <a:lvl2pPr marL="251988" indent="0">
              <a:buNone/>
              <a:defRPr/>
            </a:lvl2pPr>
          </a:lstStyle>
          <a:p>
            <a:pPr lvl="0"/>
            <a:r>
              <a:rPr lang="da-DK" noProof="0"/>
              <a:t>Klik for at tilføje underoverskrift</a:t>
            </a:r>
            <a:endParaRPr lang="da-DK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66F31E1-769E-4E9A-9DCC-2C64321A89C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47874" y="1256278"/>
            <a:ext cx="1876499" cy="458572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 noProof="0"/>
              <a:t>Klik for at tilføje tekst</a:t>
            </a:r>
            <a:endParaRPr lang="da-DK"/>
          </a:p>
          <a:p>
            <a:pPr lvl="1"/>
            <a:r>
              <a:rPr lang="da-DK" noProof="0"/>
              <a:t>Second </a:t>
            </a:r>
            <a:r>
              <a:rPr lang="da-DK" noProof="0" err="1"/>
              <a:t>level</a:t>
            </a:r>
            <a:endParaRPr lang="da-DK" noProof="0"/>
          </a:p>
          <a:p>
            <a:pPr lvl="2"/>
            <a:r>
              <a:rPr lang="da-DK" noProof="0"/>
              <a:t>Third </a:t>
            </a:r>
            <a:r>
              <a:rPr lang="da-DK" noProof="0" err="1"/>
              <a:t>level</a:t>
            </a:r>
            <a:endParaRPr lang="da-DK" noProof="0"/>
          </a:p>
          <a:p>
            <a:pPr lvl="3"/>
            <a:r>
              <a:rPr lang="da-DK" noProof="0" err="1"/>
              <a:t>Fourth</a:t>
            </a:r>
            <a:r>
              <a:rPr lang="da-DK" noProof="0"/>
              <a:t> </a:t>
            </a:r>
            <a:r>
              <a:rPr lang="da-DK" noProof="0" err="1"/>
              <a:t>level</a:t>
            </a:r>
            <a:endParaRPr lang="da-DK" noProof="0"/>
          </a:p>
          <a:p>
            <a:pPr lvl="4"/>
            <a:r>
              <a:rPr lang="da-DK" noProof="0"/>
              <a:t>Fifth </a:t>
            </a:r>
            <a:r>
              <a:rPr lang="da-DK" noProof="0" err="1"/>
              <a:t>level</a:t>
            </a:r>
            <a:endParaRPr lang="da-DK" noProof="0"/>
          </a:p>
        </p:txBody>
      </p:sp>
      <p:sp>
        <p:nvSpPr>
          <p:cNvPr id="28" name="Date Placeholder 14">
            <a:extLst>
              <a:ext uri="{FF2B5EF4-FFF2-40B4-BE49-F238E27FC236}">
                <a16:creationId xmlns:a16="http://schemas.microsoft.com/office/drawing/2014/main" id="{1DCD95D8-07B6-42C0-8767-A640B7CA8534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588C40-671D-463C-8463-D77B96C28D8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B93800-6F51-413B-BA21-0A9967FF338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41953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25.xml"/><Relationship Id="rId19" Type="http://schemas.openxmlformats.org/officeDocument/2006/relationships/vmlDrawing" Target="../drawings/vmlDrawing2.v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7801" y="1028247"/>
            <a:ext cx="8534510" cy="16026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7803" y="3369040"/>
            <a:ext cx="8528929" cy="247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Første niveau, bullet 16 </a:t>
            </a:r>
            <a:r>
              <a:rPr lang="da-DK" err="1"/>
              <a:t>pkt</a:t>
            </a:r>
            <a:endParaRPr lang="da-DK"/>
          </a:p>
          <a:p>
            <a:pPr lvl="1"/>
            <a:r>
              <a:rPr lang="da-DK"/>
              <a:t>Andet niveau, bullet 14 </a:t>
            </a:r>
            <a:r>
              <a:rPr lang="da-DK" err="1"/>
              <a:t>pkt</a:t>
            </a:r>
            <a:endParaRPr lang="da-DK"/>
          </a:p>
          <a:p>
            <a:pPr lvl="2"/>
            <a:r>
              <a:rPr lang="da-DK"/>
              <a:t>Tredje niveau, bullet 12 </a:t>
            </a:r>
            <a:r>
              <a:rPr lang="da-DK" err="1"/>
              <a:t>pkt</a:t>
            </a:r>
            <a:endParaRPr lang="da-DK"/>
          </a:p>
          <a:p>
            <a:pPr lvl="3"/>
            <a:r>
              <a:rPr lang="da-DK"/>
              <a:t>Fjerde niveau, Header bold 16 </a:t>
            </a:r>
            <a:r>
              <a:rPr lang="da-DK" err="1"/>
              <a:t>pkt</a:t>
            </a:r>
            <a:endParaRPr lang="da-DK"/>
          </a:p>
          <a:p>
            <a:pPr lvl="4"/>
            <a:r>
              <a:rPr lang="da-DK"/>
              <a:t>Femte niveau, Body </a:t>
            </a:r>
            <a:r>
              <a:rPr lang="da-DK" err="1"/>
              <a:t>regular</a:t>
            </a:r>
            <a:r>
              <a:rPr lang="da-DK"/>
              <a:t> 16 </a:t>
            </a:r>
            <a:r>
              <a:rPr lang="da-DK" err="1"/>
              <a:t>pkt</a:t>
            </a:r>
            <a:endParaRPr lang="da-DK"/>
          </a:p>
          <a:p>
            <a:pPr lvl="5"/>
            <a:r>
              <a:rPr lang="da-DK"/>
              <a:t>Sjette niveau, bullet 12 </a:t>
            </a:r>
            <a:r>
              <a:rPr lang="da-DK" err="1"/>
              <a:t>pkt</a:t>
            </a:r>
            <a:endParaRPr lang="da-DK"/>
          </a:p>
          <a:p>
            <a:pPr lvl="6"/>
            <a:r>
              <a:rPr lang="da-DK"/>
              <a:t>Syvende niveau, bullet 12 </a:t>
            </a:r>
            <a:r>
              <a:rPr lang="da-DK" err="1"/>
              <a:t>pkt</a:t>
            </a:r>
            <a:r>
              <a:rPr lang="da-DK"/>
              <a:t> (indryk 1 gang)</a:t>
            </a:r>
          </a:p>
          <a:p>
            <a:pPr lvl="7"/>
            <a:r>
              <a:rPr lang="da-DK"/>
              <a:t>Ottende niveau, Header bold, 12 </a:t>
            </a:r>
            <a:r>
              <a:rPr lang="da-DK" err="1"/>
              <a:t>pkt</a:t>
            </a:r>
            <a:endParaRPr lang="da-DK"/>
          </a:p>
          <a:p>
            <a:pPr lvl="8"/>
            <a:r>
              <a:rPr lang="da-DK"/>
              <a:t>Niende niveau, Body </a:t>
            </a:r>
            <a:r>
              <a:rPr lang="da-DK" err="1"/>
              <a:t>regular</a:t>
            </a:r>
            <a:r>
              <a:rPr lang="da-DK"/>
              <a:t>, 12 </a:t>
            </a:r>
            <a:r>
              <a:rPr lang="da-DK" err="1"/>
              <a:t>pkt</a:t>
            </a:r>
            <a:endParaRPr lang="da-DK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56ADEC3-98E1-4CEA-9AF5-46F4CDD2FA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3">
                <a:noFill/>
              </a:defRPr>
            </a:lvl1pPr>
          </a:lstStyle>
          <a:p>
            <a:fld id="{F1A13B18-F5ED-4611-8DBB-F05123AFBA22}" type="datetimeFigureOut">
              <a:rPr lang="da-DK" smtClean="0"/>
              <a:pPr/>
              <a:t>16-01-2020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33">
                <a:noFill/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7DF98717-AAEA-4E2B-96B8-AAAFF896C0EA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da-DK" sz="133" smtClean="0"/>
              <a:pPr/>
              <a:t>16-01-2020</a:t>
            </a:fld>
            <a:endParaRPr lang="da-DK" sz="133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E89A2F-569C-4A46-9E9F-69308A735C01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8" name="Pladsholder til slidenummer 3">
            <a:extLst>
              <a:ext uri="{FF2B5EF4-FFF2-40B4-BE49-F238E27FC236}">
                <a16:creationId xmlns:a16="http://schemas.microsoft.com/office/drawing/2014/main" id="{C4E478F0-71E7-4022-8D20-06B616614161}"/>
              </a:ext>
            </a:extLst>
          </p:cNvPr>
          <p:cNvSpPr txBox="1">
            <a:spLocks/>
          </p:cNvSpPr>
          <p:nvPr userDrawn="1"/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45D37B1E-C366-494F-A587-962AD9AABC83}" type="slidenum">
              <a:rPr lang="da-DK" sz="800" smtClean="0">
                <a:solidFill>
                  <a:srgbClr val="000000"/>
                </a:solidFill>
                <a:latin typeface="Arial"/>
              </a:rPr>
              <a:pPr algn="ctr">
                <a:defRPr/>
              </a:pPr>
              <a:t>‹nr.›</a:t>
            </a:fld>
            <a:endParaRPr lang="da-DK" sz="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3522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1" r:id="rId2"/>
    <p:sldLayoutId id="2147483680" r:id="rId3"/>
    <p:sldLayoutId id="2147483688" r:id="rId4"/>
    <p:sldLayoutId id="2147483690" r:id="rId5"/>
    <p:sldLayoutId id="2147483686" r:id="rId6"/>
    <p:sldLayoutId id="2147483692" r:id="rId7"/>
    <p:sldLayoutId id="2147483682" r:id="rId8"/>
    <p:sldLayoutId id="2147483689" r:id="rId9"/>
    <p:sldLayoutId id="2147483676" r:id="rId10"/>
    <p:sldLayoutId id="2147483654" r:id="rId11"/>
    <p:sldLayoutId id="2147483685" r:id="rId12"/>
    <p:sldLayoutId id="2147483691" r:id="rId13"/>
    <p:sldLayoutId id="2147483662" r:id="rId14"/>
    <p:sldLayoutId id="2147483711" r:id="rId15"/>
  </p:sldLayoutIdLst>
  <p:hf hdr="0"/>
  <p:txStyles>
    <p:titleStyle>
      <a:lvl1pPr algn="l" defTabSz="914354" rtl="0" eaLnBrk="1" latinLnBrk="0" hangingPunct="1">
        <a:lnSpc>
          <a:spcPct val="97000"/>
        </a:lnSpc>
        <a:spcBef>
          <a:spcPct val="0"/>
        </a:spcBef>
        <a:buNone/>
        <a:tabLst>
          <a:tab pos="1438203" algn="l"/>
        </a:tabLst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8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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74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5962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54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988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03974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54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285" userDrawn="1">
          <p15:clr>
            <a:srgbClr val="F26B43"/>
          </p15:clr>
        </p15:guide>
        <p15:guide id="4" orient="horz" pos="1071" userDrawn="1">
          <p15:clr>
            <a:srgbClr val="F26B43"/>
          </p15:clr>
        </p15:guide>
        <p15:guide id="5" pos="194" userDrawn="1">
          <p15:clr>
            <a:srgbClr val="F26B43"/>
          </p15:clr>
        </p15:guide>
        <p15:guide id="6" pos="5566" userDrawn="1">
          <p15:clr>
            <a:srgbClr val="F26B43"/>
          </p15:clr>
        </p15:guide>
        <p15:guide id="7" orient="horz" pos="1253" userDrawn="1">
          <p15:clr>
            <a:srgbClr val="F26B43"/>
          </p15:clr>
        </p15:guide>
        <p15:guide id="8" orient="horz" pos="3680" userDrawn="1">
          <p15:clr>
            <a:srgbClr val="F26B43"/>
          </p15:clr>
        </p15:guide>
        <p15:guide id="9" orient="horz" pos="3916" userDrawn="1">
          <p15:clr>
            <a:srgbClr val="F26B43"/>
          </p15:clr>
        </p15:guide>
        <p15:guide id="10" orient="horz" pos="4094" userDrawn="1">
          <p15:clr>
            <a:srgbClr val="F26B43"/>
          </p15:clr>
        </p15:guide>
        <p15:guide id="11" pos="40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06E58C-7D86-4A5E-9A71-3AAFB3F74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22" imgW="359" imgH="360" progId="TCLayout.ActiveDocument.1">
                  <p:embed/>
                </p:oleObj>
              </mc:Choice>
              <mc:Fallback>
                <p:oleObj name="think-cell Slide" r:id="rId22" imgW="359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906E58C-7D86-4A5E-9A71-3AAFB3F74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A53885-C371-4465-BCF4-A89E1F8445D8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600" b="1" i="0" baseline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7801" y="1028247"/>
            <a:ext cx="8534510" cy="16026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/>
              <a:t>Klik for at redigere i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7803" y="3369040"/>
            <a:ext cx="8528929" cy="247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Første niveau, bullet 16 </a:t>
            </a:r>
            <a:r>
              <a:rPr lang="da-DK" err="1"/>
              <a:t>pkt</a:t>
            </a:r>
            <a:endParaRPr lang="da-DK"/>
          </a:p>
          <a:p>
            <a:pPr lvl="1"/>
            <a:r>
              <a:rPr lang="da-DK"/>
              <a:t>Andet niveau, bullet 14 </a:t>
            </a:r>
            <a:r>
              <a:rPr lang="da-DK" err="1"/>
              <a:t>pkt</a:t>
            </a:r>
            <a:endParaRPr lang="da-DK"/>
          </a:p>
          <a:p>
            <a:pPr lvl="2"/>
            <a:r>
              <a:rPr lang="da-DK"/>
              <a:t>Tredje niveau, bullet 12 </a:t>
            </a:r>
            <a:r>
              <a:rPr lang="da-DK" err="1"/>
              <a:t>pkt</a:t>
            </a:r>
            <a:endParaRPr lang="da-DK"/>
          </a:p>
          <a:p>
            <a:pPr lvl="3"/>
            <a:r>
              <a:rPr lang="da-DK"/>
              <a:t>Fjerde niveau, Header bold 16 </a:t>
            </a:r>
            <a:r>
              <a:rPr lang="da-DK" err="1"/>
              <a:t>pkt</a:t>
            </a:r>
            <a:endParaRPr lang="da-DK"/>
          </a:p>
          <a:p>
            <a:pPr lvl="4"/>
            <a:r>
              <a:rPr lang="da-DK"/>
              <a:t>Femte niveau, Body </a:t>
            </a:r>
            <a:r>
              <a:rPr lang="da-DK" err="1"/>
              <a:t>regular</a:t>
            </a:r>
            <a:r>
              <a:rPr lang="da-DK"/>
              <a:t> 16 </a:t>
            </a:r>
            <a:r>
              <a:rPr lang="da-DK" err="1"/>
              <a:t>pkt</a:t>
            </a:r>
            <a:endParaRPr lang="da-DK"/>
          </a:p>
          <a:p>
            <a:pPr lvl="5"/>
            <a:r>
              <a:rPr lang="da-DK"/>
              <a:t>Sjette niveau, bullet 12 </a:t>
            </a:r>
            <a:r>
              <a:rPr lang="da-DK" err="1"/>
              <a:t>pkt</a:t>
            </a:r>
            <a:endParaRPr lang="da-DK"/>
          </a:p>
          <a:p>
            <a:pPr lvl="6"/>
            <a:r>
              <a:rPr lang="da-DK"/>
              <a:t>Syvende niveau, bullet 12 </a:t>
            </a:r>
            <a:r>
              <a:rPr lang="da-DK" err="1"/>
              <a:t>pkt</a:t>
            </a:r>
            <a:r>
              <a:rPr lang="da-DK"/>
              <a:t> (indryk 1 gang)</a:t>
            </a:r>
          </a:p>
          <a:p>
            <a:pPr lvl="7"/>
            <a:r>
              <a:rPr lang="da-DK"/>
              <a:t>Ottende niveau, Header bold, 12 </a:t>
            </a:r>
            <a:r>
              <a:rPr lang="da-DK" err="1"/>
              <a:t>pkt</a:t>
            </a:r>
            <a:endParaRPr lang="da-DK"/>
          </a:p>
          <a:p>
            <a:pPr lvl="8"/>
            <a:r>
              <a:rPr lang="da-DK"/>
              <a:t>Niende niveau, Body </a:t>
            </a:r>
            <a:r>
              <a:rPr lang="da-DK" err="1"/>
              <a:t>regular</a:t>
            </a:r>
            <a:r>
              <a:rPr lang="da-DK"/>
              <a:t>, 12 </a:t>
            </a:r>
            <a:r>
              <a:rPr lang="da-DK" err="1"/>
              <a:t>pkt</a:t>
            </a:r>
            <a:endParaRPr lang="da-DK"/>
          </a:p>
        </p:txBody>
      </p:sp>
      <p:sp>
        <p:nvSpPr>
          <p:cNvPr id="28" name="date" descr="{&quot;templafy&quot;:{&quot;id&quot;:&quot;80025d53-26c4-4922-ac91-2db959e1a5c7&quot;}}" title="Form.Date">
            <a:extLst>
              <a:ext uri="{FF2B5EF4-FFF2-40B4-BE49-F238E27FC236}">
                <a16:creationId xmlns:a16="http://schemas.microsoft.com/office/drawing/2014/main" id="{8A346F21-C2D9-45A4-B26D-7DDC2CEB9FB7}"/>
              </a:ext>
            </a:extLst>
          </p:cNvPr>
          <p:cNvSpPr/>
          <p:nvPr userDrawn="1"/>
        </p:nvSpPr>
        <p:spPr>
          <a:xfrm>
            <a:off x="6867027" y="6465600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da-DK" sz="1200" b="0">
                <a:solidFill>
                  <a:schemeClr val="tx1"/>
                </a:solidFill>
              </a:rPr>
              <a:t>oktober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fld id="{45D37B1E-C366-494F-A587-962AD9AABC83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4E89A2F-569C-4A46-9E9F-69308A735C01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782" y="6375535"/>
            <a:ext cx="797663" cy="225677"/>
          </a:xfrm>
          <a:prstGeom prst="rect">
            <a:avLst/>
          </a:prstGeom>
        </p:spPr>
      </p:pic>
      <p:sp>
        <p:nvSpPr>
          <p:cNvPr id="19" name="sdu.dk">
            <a:extLst>
              <a:ext uri="{FF2B5EF4-FFF2-40B4-BE49-F238E27FC236}">
                <a16:creationId xmlns:a16="http://schemas.microsoft.com/office/drawing/2014/main" id="{CD60DA45-62AE-46C7-A0EE-55A1D1461B4C}"/>
              </a:ext>
            </a:extLst>
          </p:cNvPr>
          <p:cNvSpPr/>
          <p:nvPr userDrawn="1"/>
        </p:nvSpPr>
        <p:spPr>
          <a:xfrm rot="5400000">
            <a:off x="8496300" y="594477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SDU.dk</a:t>
            </a:r>
            <a:endParaRPr lang="da-DK"/>
          </a:p>
        </p:txBody>
      </p:sp>
      <p:sp>
        <p:nvSpPr>
          <p:cNvPr id="20" name="#sdudk">
            <a:extLst>
              <a:ext uri="{FF2B5EF4-FFF2-40B4-BE49-F238E27FC236}">
                <a16:creationId xmlns:a16="http://schemas.microsoft.com/office/drawing/2014/main" id="{E210D131-69D2-4DCF-8B02-28CEF197357D}"/>
              </a:ext>
            </a:extLst>
          </p:cNvPr>
          <p:cNvSpPr/>
          <p:nvPr userDrawn="1"/>
        </p:nvSpPr>
        <p:spPr>
          <a:xfrm rot="5400000">
            <a:off x="8497794" y="1508878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da-DK" sz="1100" b="1" noProof="1">
                <a:solidFill>
                  <a:schemeClr val="tx1"/>
                </a:solidFill>
              </a:rPr>
              <a:t>#SDUdk</a:t>
            </a:r>
            <a:endParaRPr lang="da-DK"/>
          </a:p>
        </p:txBody>
      </p:sp>
      <p:sp>
        <p:nvSpPr>
          <p:cNvPr id="22" name="Rektangel 28">
            <a:extLst>
              <a:ext uri="{FF2B5EF4-FFF2-40B4-BE49-F238E27FC236}">
                <a16:creationId xmlns:a16="http://schemas.microsoft.com/office/drawing/2014/main" id="{BA7BF703-87C5-49AD-B023-72E3CFE2D263}"/>
              </a:ext>
            </a:extLst>
          </p:cNvPr>
          <p:cNvSpPr/>
          <p:nvPr userDrawn="1"/>
        </p:nvSpPr>
        <p:spPr>
          <a:xfrm>
            <a:off x="7625750" y="35919"/>
            <a:ext cx="1133115" cy="352791"/>
          </a:xfrm>
          <a:prstGeom prst="rect">
            <a:avLst/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000" b="1">
                <a:solidFill>
                  <a:schemeClr val="tx1"/>
                </a:solidFill>
              </a:rPr>
              <a:t>FORTROLIGT</a:t>
            </a:r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71890C94-8CE6-411A-9A6C-B4AE47D71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9009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</p:sldLayoutIdLst>
  <p:hf hdr="0" ftr="0" dt="0"/>
  <p:txStyles>
    <p:titleStyle>
      <a:lvl1pPr algn="l" defTabSz="914354" rtl="0" eaLnBrk="1" latinLnBrk="0" hangingPunct="1">
        <a:lnSpc>
          <a:spcPct val="97000"/>
        </a:lnSpc>
        <a:spcBef>
          <a:spcPct val="0"/>
        </a:spcBef>
        <a:buNone/>
        <a:tabLst>
          <a:tab pos="1438203" algn="l"/>
        </a:tabLst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8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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03974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55962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3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354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988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03974" indent="-251988" algn="l" defTabSz="914354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354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​"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354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5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pos="194">
          <p15:clr>
            <a:srgbClr val="F26B43"/>
          </p15:clr>
        </p15:guide>
        <p15:guide id="6" pos="5566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3680">
          <p15:clr>
            <a:srgbClr val="F26B43"/>
          </p15:clr>
        </p15:guide>
        <p15:guide id="9" orient="horz" pos="3916">
          <p15:clr>
            <a:srgbClr val="F26B43"/>
          </p15:clr>
        </p15:guide>
        <p15:guide id="10" orient="horz" pos="4094">
          <p15:clr>
            <a:srgbClr val="F26B43"/>
          </p15:clr>
        </p15:guide>
        <p15:guide id="11" pos="4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23.xml"/><Relationship Id="rId18" Type="http://schemas.openxmlformats.org/officeDocument/2006/relationships/tags" Target="../tags/tag28.xml"/><Relationship Id="rId26" Type="http://schemas.openxmlformats.org/officeDocument/2006/relationships/tags" Target="../tags/tag36.xml"/><Relationship Id="rId39" Type="http://schemas.openxmlformats.org/officeDocument/2006/relationships/tags" Target="../tags/tag49.xml"/><Relationship Id="rId21" Type="http://schemas.openxmlformats.org/officeDocument/2006/relationships/tags" Target="../tags/tag31.xml"/><Relationship Id="rId34" Type="http://schemas.openxmlformats.org/officeDocument/2006/relationships/tags" Target="../tags/tag44.xml"/><Relationship Id="rId42" Type="http://schemas.openxmlformats.org/officeDocument/2006/relationships/tags" Target="../tags/tag52.xml"/><Relationship Id="rId47" Type="http://schemas.openxmlformats.org/officeDocument/2006/relationships/tags" Target="../tags/tag57.xml"/><Relationship Id="rId50" Type="http://schemas.openxmlformats.org/officeDocument/2006/relationships/tags" Target="../tags/tag60.xml"/><Relationship Id="rId55" Type="http://schemas.openxmlformats.org/officeDocument/2006/relationships/tags" Target="../tags/tag65.xml"/><Relationship Id="rId63" Type="http://schemas.openxmlformats.org/officeDocument/2006/relationships/tags" Target="../tags/tag73.xml"/><Relationship Id="rId68" Type="http://schemas.openxmlformats.org/officeDocument/2006/relationships/tags" Target="../tags/tag78.xml"/><Relationship Id="rId76" Type="http://schemas.openxmlformats.org/officeDocument/2006/relationships/tags" Target="../tags/tag86.xml"/><Relationship Id="rId84" Type="http://schemas.openxmlformats.org/officeDocument/2006/relationships/tags" Target="../tags/tag94.xml"/><Relationship Id="rId7" Type="http://schemas.openxmlformats.org/officeDocument/2006/relationships/tags" Target="../tags/tag17.xml"/><Relationship Id="rId71" Type="http://schemas.openxmlformats.org/officeDocument/2006/relationships/tags" Target="../tags/tag81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29" Type="http://schemas.openxmlformats.org/officeDocument/2006/relationships/tags" Target="../tags/tag39.xml"/><Relationship Id="rId11" Type="http://schemas.openxmlformats.org/officeDocument/2006/relationships/tags" Target="../tags/tag21.xml"/><Relationship Id="rId24" Type="http://schemas.openxmlformats.org/officeDocument/2006/relationships/tags" Target="../tags/tag34.xml"/><Relationship Id="rId32" Type="http://schemas.openxmlformats.org/officeDocument/2006/relationships/tags" Target="../tags/tag42.xml"/><Relationship Id="rId37" Type="http://schemas.openxmlformats.org/officeDocument/2006/relationships/tags" Target="../tags/tag47.xml"/><Relationship Id="rId40" Type="http://schemas.openxmlformats.org/officeDocument/2006/relationships/tags" Target="../tags/tag50.xml"/><Relationship Id="rId45" Type="http://schemas.openxmlformats.org/officeDocument/2006/relationships/tags" Target="../tags/tag55.xml"/><Relationship Id="rId53" Type="http://schemas.openxmlformats.org/officeDocument/2006/relationships/tags" Target="../tags/tag63.xml"/><Relationship Id="rId58" Type="http://schemas.openxmlformats.org/officeDocument/2006/relationships/tags" Target="../tags/tag68.xml"/><Relationship Id="rId66" Type="http://schemas.openxmlformats.org/officeDocument/2006/relationships/tags" Target="../tags/tag76.xml"/><Relationship Id="rId74" Type="http://schemas.openxmlformats.org/officeDocument/2006/relationships/tags" Target="../tags/tag84.xml"/><Relationship Id="rId79" Type="http://schemas.openxmlformats.org/officeDocument/2006/relationships/tags" Target="../tags/tag89.xml"/><Relationship Id="rId87" Type="http://schemas.openxmlformats.org/officeDocument/2006/relationships/image" Target="../media/image9.emf"/><Relationship Id="rId5" Type="http://schemas.openxmlformats.org/officeDocument/2006/relationships/tags" Target="../tags/tag15.xml"/><Relationship Id="rId61" Type="http://schemas.openxmlformats.org/officeDocument/2006/relationships/tags" Target="../tags/tag71.xml"/><Relationship Id="rId82" Type="http://schemas.openxmlformats.org/officeDocument/2006/relationships/tags" Target="../tags/tag92.xml"/><Relationship Id="rId19" Type="http://schemas.openxmlformats.org/officeDocument/2006/relationships/tags" Target="../tags/tag29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Relationship Id="rId22" Type="http://schemas.openxmlformats.org/officeDocument/2006/relationships/tags" Target="../tags/tag32.xml"/><Relationship Id="rId27" Type="http://schemas.openxmlformats.org/officeDocument/2006/relationships/tags" Target="../tags/tag37.xml"/><Relationship Id="rId30" Type="http://schemas.openxmlformats.org/officeDocument/2006/relationships/tags" Target="../tags/tag40.xml"/><Relationship Id="rId35" Type="http://schemas.openxmlformats.org/officeDocument/2006/relationships/tags" Target="../tags/tag45.xml"/><Relationship Id="rId43" Type="http://schemas.openxmlformats.org/officeDocument/2006/relationships/tags" Target="../tags/tag53.xml"/><Relationship Id="rId48" Type="http://schemas.openxmlformats.org/officeDocument/2006/relationships/tags" Target="../tags/tag58.xml"/><Relationship Id="rId56" Type="http://schemas.openxmlformats.org/officeDocument/2006/relationships/tags" Target="../tags/tag66.xml"/><Relationship Id="rId64" Type="http://schemas.openxmlformats.org/officeDocument/2006/relationships/tags" Target="../tags/tag74.xml"/><Relationship Id="rId69" Type="http://schemas.openxmlformats.org/officeDocument/2006/relationships/tags" Target="../tags/tag79.xml"/><Relationship Id="rId77" Type="http://schemas.openxmlformats.org/officeDocument/2006/relationships/tags" Target="../tags/tag87.xml"/><Relationship Id="rId8" Type="http://schemas.openxmlformats.org/officeDocument/2006/relationships/tags" Target="../tags/tag18.xml"/><Relationship Id="rId51" Type="http://schemas.openxmlformats.org/officeDocument/2006/relationships/tags" Target="../tags/tag61.xml"/><Relationship Id="rId72" Type="http://schemas.openxmlformats.org/officeDocument/2006/relationships/tags" Target="../tags/tag82.xml"/><Relationship Id="rId80" Type="http://schemas.openxmlformats.org/officeDocument/2006/relationships/tags" Target="../tags/tag90.xml"/><Relationship Id="rId85" Type="http://schemas.openxmlformats.org/officeDocument/2006/relationships/slideLayout" Target="../slideLayouts/slideLayout15.xml"/><Relationship Id="rId3" Type="http://schemas.openxmlformats.org/officeDocument/2006/relationships/tags" Target="../tags/tag13.xml"/><Relationship Id="rId12" Type="http://schemas.openxmlformats.org/officeDocument/2006/relationships/tags" Target="../tags/tag22.xml"/><Relationship Id="rId17" Type="http://schemas.openxmlformats.org/officeDocument/2006/relationships/tags" Target="../tags/tag27.xml"/><Relationship Id="rId25" Type="http://schemas.openxmlformats.org/officeDocument/2006/relationships/tags" Target="../tags/tag35.xml"/><Relationship Id="rId33" Type="http://schemas.openxmlformats.org/officeDocument/2006/relationships/tags" Target="../tags/tag43.xml"/><Relationship Id="rId38" Type="http://schemas.openxmlformats.org/officeDocument/2006/relationships/tags" Target="../tags/tag48.xml"/><Relationship Id="rId46" Type="http://schemas.openxmlformats.org/officeDocument/2006/relationships/tags" Target="../tags/tag56.xml"/><Relationship Id="rId59" Type="http://schemas.openxmlformats.org/officeDocument/2006/relationships/tags" Target="../tags/tag69.xml"/><Relationship Id="rId67" Type="http://schemas.openxmlformats.org/officeDocument/2006/relationships/tags" Target="../tags/tag77.xml"/><Relationship Id="rId20" Type="http://schemas.openxmlformats.org/officeDocument/2006/relationships/tags" Target="../tags/tag30.xml"/><Relationship Id="rId41" Type="http://schemas.openxmlformats.org/officeDocument/2006/relationships/tags" Target="../tags/tag51.xml"/><Relationship Id="rId54" Type="http://schemas.openxmlformats.org/officeDocument/2006/relationships/tags" Target="../tags/tag64.xml"/><Relationship Id="rId62" Type="http://schemas.openxmlformats.org/officeDocument/2006/relationships/tags" Target="../tags/tag72.xml"/><Relationship Id="rId70" Type="http://schemas.openxmlformats.org/officeDocument/2006/relationships/tags" Target="../tags/tag80.xml"/><Relationship Id="rId75" Type="http://schemas.openxmlformats.org/officeDocument/2006/relationships/tags" Target="../tags/tag85.xml"/><Relationship Id="rId83" Type="http://schemas.openxmlformats.org/officeDocument/2006/relationships/tags" Target="../tags/tag93.xml"/><Relationship Id="rId1" Type="http://schemas.openxmlformats.org/officeDocument/2006/relationships/vmlDrawing" Target="../drawings/vmlDrawing6.vml"/><Relationship Id="rId6" Type="http://schemas.openxmlformats.org/officeDocument/2006/relationships/tags" Target="../tags/tag16.xml"/><Relationship Id="rId15" Type="http://schemas.openxmlformats.org/officeDocument/2006/relationships/tags" Target="../tags/tag25.xml"/><Relationship Id="rId23" Type="http://schemas.openxmlformats.org/officeDocument/2006/relationships/tags" Target="../tags/tag33.xml"/><Relationship Id="rId28" Type="http://schemas.openxmlformats.org/officeDocument/2006/relationships/tags" Target="../tags/tag38.xml"/><Relationship Id="rId36" Type="http://schemas.openxmlformats.org/officeDocument/2006/relationships/tags" Target="../tags/tag46.xml"/><Relationship Id="rId49" Type="http://schemas.openxmlformats.org/officeDocument/2006/relationships/tags" Target="../tags/tag59.xml"/><Relationship Id="rId57" Type="http://schemas.openxmlformats.org/officeDocument/2006/relationships/tags" Target="../tags/tag67.xml"/><Relationship Id="rId10" Type="http://schemas.openxmlformats.org/officeDocument/2006/relationships/tags" Target="../tags/tag20.xml"/><Relationship Id="rId31" Type="http://schemas.openxmlformats.org/officeDocument/2006/relationships/tags" Target="../tags/tag41.xml"/><Relationship Id="rId44" Type="http://schemas.openxmlformats.org/officeDocument/2006/relationships/tags" Target="../tags/tag54.xml"/><Relationship Id="rId52" Type="http://schemas.openxmlformats.org/officeDocument/2006/relationships/tags" Target="../tags/tag62.xml"/><Relationship Id="rId60" Type="http://schemas.openxmlformats.org/officeDocument/2006/relationships/tags" Target="../tags/tag70.xml"/><Relationship Id="rId65" Type="http://schemas.openxmlformats.org/officeDocument/2006/relationships/tags" Target="../tags/tag75.xml"/><Relationship Id="rId73" Type="http://schemas.openxmlformats.org/officeDocument/2006/relationships/tags" Target="../tags/tag83.xml"/><Relationship Id="rId78" Type="http://schemas.openxmlformats.org/officeDocument/2006/relationships/tags" Target="../tags/tag88.xml"/><Relationship Id="rId81" Type="http://schemas.openxmlformats.org/officeDocument/2006/relationships/tags" Target="../tags/tag91.xml"/><Relationship Id="rId86" Type="http://schemas.openxmlformats.org/officeDocument/2006/relationships/oleObject" Target="../embeddings/oleObject6.bin"/></Relationships>
</file>

<file path=ppt/slides/_rels/slide2.xml.rels><?xml version="1.0" encoding="UTF-8" standalone="yes"?>
<Relationships xmlns="http://schemas.openxmlformats.org/package/2006/relationships"><Relationship Id="rId26" Type="http://schemas.openxmlformats.org/officeDocument/2006/relationships/tags" Target="../tags/tag119.xml"/><Relationship Id="rId117" Type="http://schemas.openxmlformats.org/officeDocument/2006/relationships/tags" Target="../tags/tag210.xml"/><Relationship Id="rId21" Type="http://schemas.openxmlformats.org/officeDocument/2006/relationships/tags" Target="../tags/tag114.xml"/><Relationship Id="rId42" Type="http://schemas.openxmlformats.org/officeDocument/2006/relationships/tags" Target="../tags/tag135.xml"/><Relationship Id="rId47" Type="http://schemas.openxmlformats.org/officeDocument/2006/relationships/tags" Target="../tags/tag140.xml"/><Relationship Id="rId63" Type="http://schemas.openxmlformats.org/officeDocument/2006/relationships/tags" Target="../tags/tag156.xml"/><Relationship Id="rId68" Type="http://schemas.openxmlformats.org/officeDocument/2006/relationships/tags" Target="../tags/tag161.xml"/><Relationship Id="rId84" Type="http://schemas.openxmlformats.org/officeDocument/2006/relationships/tags" Target="../tags/tag177.xml"/><Relationship Id="rId89" Type="http://schemas.openxmlformats.org/officeDocument/2006/relationships/tags" Target="../tags/tag182.xml"/><Relationship Id="rId112" Type="http://schemas.openxmlformats.org/officeDocument/2006/relationships/tags" Target="../tags/tag205.xml"/><Relationship Id="rId16" Type="http://schemas.openxmlformats.org/officeDocument/2006/relationships/tags" Target="../tags/tag109.xml"/><Relationship Id="rId107" Type="http://schemas.openxmlformats.org/officeDocument/2006/relationships/tags" Target="../tags/tag200.xml"/><Relationship Id="rId11" Type="http://schemas.openxmlformats.org/officeDocument/2006/relationships/tags" Target="../tags/tag104.xml"/><Relationship Id="rId32" Type="http://schemas.openxmlformats.org/officeDocument/2006/relationships/tags" Target="../tags/tag125.xml"/><Relationship Id="rId37" Type="http://schemas.openxmlformats.org/officeDocument/2006/relationships/tags" Target="../tags/tag130.xml"/><Relationship Id="rId53" Type="http://schemas.openxmlformats.org/officeDocument/2006/relationships/tags" Target="../tags/tag146.xml"/><Relationship Id="rId58" Type="http://schemas.openxmlformats.org/officeDocument/2006/relationships/tags" Target="../tags/tag151.xml"/><Relationship Id="rId74" Type="http://schemas.openxmlformats.org/officeDocument/2006/relationships/tags" Target="../tags/tag167.xml"/><Relationship Id="rId79" Type="http://schemas.openxmlformats.org/officeDocument/2006/relationships/tags" Target="../tags/tag172.xml"/><Relationship Id="rId102" Type="http://schemas.openxmlformats.org/officeDocument/2006/relationships/tags" Target="../tags/tag195.xml"/><Relationship Id="rId5" Type="http://schemas.openxmlformats.org/officeDocument/2006/relationships/tags" Target="../tags/tag98.xml"/><Relationship Id="rId61" Type="http://schemas.openxmlformats.org/officeDocument/2006/relationships/tags" Target="../tags/tag154.xml"/><Relationship Id="rId82" Type="http://schemas.openxmlformats.org/officeDocument/2006/relationships/tags" Target="../tags/tag175.xml"/><Relationship Id="rId90" Type="http://schemas.openxmlformats.org/officeDocument/2006/relationships/tags" Target="../tags/tag183.xml"/><Relationship Id="rId95" Type="http://schemas.openxmlformats.org/officeDocument/2006/relationships/tags" Target="../tags/tag188.xml"/><Relationship Id="rId19" Type="http://schemas.openxmlformats.org/officeDocument/2006/relationships/tags" Target="../tags/tag112.xml"/><Relationship Id="rId14" Type="http://schemas.openxmlformats.org/officeDocument/2006/relationships/tags" Target="../tags/tag107.xml"/><Relationship Id="rId22" Type="http://schemas.openxmlformats.org/officeDocument/2006/relationships/tags" Target="../tags/tag115.xml"/><Relationship Id="rId27" Type="http://schemas.openxmlformats.org/officeDocument/2006/relationships/tags" Target="../tags/tag120.xml"/><Relationship Id="rId30" Type="http://schemas.openxmlformats.org/officeDocument/2006/relationships/tags" Target="../tags/tag123.xml"/><Relationship Id="rId35" Type="http://schemas.openxmlformats.org/officeDocument/2006/relationships/tags" Target="../tags/tag128.xml"/><Relationship Id="rId43" Type="http://schemas.openxmlformats.org/officeDocument/2006/relationships/tags" Target="../tags/tag136.xml"/><Relationship Id="rId48" Type="http://schemas.openxmlformats.org/officeDocument/2006/relationships/tags" Target="../tags/tag141.xml"/><Relationship Id="rId56" Type="http://schemas.openxmlformats.org/officeDocument/2006/relationships/tags" Target="../tags/tag149.xml"/><Relationship Id="rId64" Type="http://schemas.openxmlformats.org/officeDocument/2006/relationships/tags" Target="../tags/tag157.xml"/><Relationship Id="rId69" Type="http://schemas.openxmlformats.org/officeDocument/2006/relationships/tags" Target="../tags/tag162.xml"/><Relationship Id="rId77" Type="http://schemas.openxmlformats.org/officeDocument/2006/relationships/tags" Target="../tags/tag170.xml"/><Relationship Id="rId100" Type="http://schemas.openxmlformats.org/officeDocument/2006/relationships/tags" Target="../tags/tag193.xml"/><Relationship Id="rId105" Type="http://schemas.openxmlformats.org/officeDocument/2006/relationships/tags" Target="../tags/tag198.xml"/><Relationship Id="rId113" Type="http://schemas.openxmlformats.org/officeDocument/2006/relationships/tags" Target="../tags/tag206.xml"/><Relationship Id="rId118" Type="http://schemas.openxmlformats.org/officeDocument/2006/relationships/slideLayout" Target="../slideLayouts/slideLayout15.xml"/><Relationship Id="rId8" Type="http://schemas.openxmlformats.org/officeDocument/2006/relationships/tags" Target="../tags/tag101.xml"/><Relationship Id="rId51" Type="http://schemas.openxmlformats.org/officeDocument/2006/relationships/tags" Target="../tags/tag144.xml"/><Relationship Id="rId72" Type="http://schemas.openxmlformats.org/officeDocument/2006/relationships/tags" Target="../tags/tag165.xml"/><Relationship Id="rId80" Type="http://schemas.openxmlformats.org/officeDocument/2006/relationships/tags" Target="../tags/tag173.xml"/><Relationship Id="rId85" Type="http://schemas.openxmlformats.org/officeDocument/2006/relationships/tags" Target="../tags/tag178.xml"/><Relationship Id="rId93" Type="http://schemas.openxmlformats.org/officeDocument/2006/relationships/tags" Target="../tags/tag186.xml"/><Relationship Id="rId98" Type="http://schemas.openxmlformats.org/officeDocument/2006/relationships/tags" Target="../tags/tag191.xml"/><Relationship Id="rId121" Type="http://schemas.openxmlformats.org/officeDocument/2006/relationships/image" Target="../media/image9.emf"/><Relationship Id="rId3" Type="http://schemas.openxmlformats.org/officeDocument/2006/relationships/tags" Target="../tags/tag96.xml"/><Relationship Id="rId12" Type="http://schemas.openxmlformats.org/officeDocument/2006/relationships/tags" Target="../tags/tag105.xml"/><Relationship Id="rId17" Type="http://schemas.openxmlformats.org/officeDocument/2006/relationships/tags" Target="../tags/tag110.xml"/><Relationship Id="rId25" Type="http://schemas.openxmlformats.org/officeDocument/2006/relationships/tags" Target="../tags/tag118.xml"/><Relationship Id="rId33" Type="http://schemas.openxmlformats.org/officeDocument/2006/relationships/tags" Target="../tags/tag126.xml"/><Relationship Id="rId38" Type="http://schemas.openxmlformats.org/officeDocument/2006/relationships/tags" Target="../tags/tag131.xml"/><Relationship Id="rId46" Type="http://schemas.openxmlformats.org/officeDocument/2006/relationships/tags" Target="../tags/tag139.xml"/><Relationship Id="rId59" Type="http://schemas.openxmlformats.org/officeDocument/2006/relationships/tags" Target="../tags/tag152.xml"/><Relationship Id="rId67" Type="http://schemas.openxmlformats.org/officeDocument/2006/relationships/tags" Target="../tags/tag160.xml"/><Relationship Id="rId103" Type="http://schemas.openxmlformats.org/officeDocument/2006/relationships/tags" Target="../tags/tag196.xml"/><Relationship Id="rId108" Type="http://schemas.openxmlformats.org/officeDocument/2006/relationships/tags" Target="../tags/tag201.xml"/><Relationship Id="rId116" Type="http://schemas.openxmlformats.org/officeDocument/2006/relationships/tags" Target="../tags/tag209.xml"/><Relationship Id="rId20" Type="http://schemas.openxmlformats.org/officeDocument/2006/relationships/tags" Target="../tags/tag113.xml"/><Relationship Id="rId41" Type="http://schemas.openxmlformats.org/officeDocument/2006/relationships/tags" Target="../tags/tag134.xml"/><Relationship Id="rId54" Type="http://schemas.openxmlformats.org/officeDocument/2006/relationships/tags" Target="../tags/tag147.xml"/><Relationship Id="rId62" Type="http://schemas.openxmlformats.org/officeDocument/2006/relationships/tags" Target="../tags/tag155.xml"/><Relationship Id="rId70" Type="http://schemas.openxmlformats.org/officeDocument/2006/relationships/tags" Target="../tags/tag163.xml"/><Relationship Id="rId75" Type="http://schemas.openxmlformats.org/officeDocument/2006/relationships/tags" Target="../tags/tag168.xml"/><Relationship Id="rId83" Type="http://schemas.openxmlformats.org/officeDocument/2006/relationships/tags" Target="../tags/tag176.xml"/><Relationship Id="rId88" Type="http://schemas.openxmlformats.org/officeDocument/2006/relationships/tags" Target="../tags/tag181.xml"/><Relationship Id="rId91" Type="http://schemas.openxmlformats.org/officeDocument/2006/relationships/tags" Target="../tags/tag184.xml"/><Relationship Id="rId96" Type="http://schemas.openxmlformats.org/officeDocument/2006/relationships/tags" Target="../tags/tag189.xml"/><Relationship Id="rId111" Type="http://schemas.openxmlformats.org/officeDocument/2006/relationships/tags" Target="../tags/tag204.xml"/><Relationship Id="rId1" Type="http://schemas.openxmlformats.org/officeDocument/2006/relationships/vmlDrawing" Target="../drawings/vmlDrawing7.vml"/><Relationship Id="rId6" Type="http://schemas.openxmlformats.org/officeDocument/2006/relationships/tags" Target="../tags/tag99.xml"/><Relationship Id="rId15" Type="http://schemas.openxmlformats.org/officeDocument/2006/relationships/tags" Target="../tags/tag108.xml"/><Relationship Id="rId23" Type="http://schemas.openxmlformats.org/officeDocument/2006/relationships/tags" Target="../tags/tag116.xml"/><Relationship Id="rId28" Type="http://schemas.openxmlformats.org/officeDocument/2006/relationships/tags" Target="../tags/tag121.xml"/><Relationship Id="rId36" Type="http://schemas.openxmlformats.org/officeDocument/2006/relationships/tags" Target="../tags/tag129.xml"/><Relationship Id="rId49" Type="http://schemas.openxmlformats.org/officeDocument/2006/relationships/tags" Target="../tags/tag142.xml"/><Relationship Id="rId57" Type="http://schemas.openxmlformats.org/officeDocument/2006/relationships/tags" Target="../tags/tag150.xml"/><Relationship Id="rId106" Type="http://schemas.openxmlformats.org/officeDocument/2006/relationships/tags" Target="../tags/tag199.xml"/><Relationship Id="rId114" Type="http://schemas.openxmlformats.org/officeDocument/2006/relationships/tags" Target="../tags/tag207.xml"/><Relationship Id="rId119" Type="http://schemas.openxmlformats.org/officeDocument/2006/relationships/notesSlide" Target="../notesSlides/notesSlide1.xml"/><Relationship Id="rId10" Type="http://schemas.openxmlformats.org/officeDocument/2006/relationships/tags" Target="../tags/tag103.xml"/><Relationship Id="rId31" Type="http://schemas.openxmlformats.org/officeDocument/2006/relationships/tags" Target="../tags/tag124.xml"/><Relationship Id="rId44" Type="http://schemas.openxmlformats.org/officeDocument/2006/relationships/tags" Target="../tags/tag137.xml"/><Relationship Id="rId52" Type="http://schemas.openxmlformats.org/officeDocument/2006/relationships/tags" Target="../tags/tag145.xml"/><Relationship Id="rId60" Type="http://schemas.openxmlformats.org/officeDocument/2006/relationships/tags" Target="../tags/tag153.xml"/><Relationship Id="rId65" Type="http://schemas.openxmlformats.org/officeDocument/2006/relationships/tags" Target="../tags/tag158.xml"/><Relationship Id="rId73" Type="http://schemas.openxmlformats.org/officeDocument/2006/relationships/tags" Target="../tags/tag166.xml"/><Relationship Id="rId78" Type="http://schemas.openxmlformats.org/officeDocument/2006/relationships/tags" Target="../tags/tag171.xml"/><Relationship Id="rId81" Type="http://schemas.openxmlformats.org/officeDocument/2006/relationships/tags" Target="../tags/tag174.xml"/><Relationship Id="rId86" Type="http://schemas.openxmlformats.org/officeDocument/2006/relationships/tags" Target="../tags/tag179.xml"/><Relationship Id="rId94" Type="http://schemas.openxmlformats.org/officeDocument/2006/relationships/tags" Target="../tags/tag187.xml"/><Relationship Id="rId99" Type="http://schemas.openxmlformats.org/officeDocument/2006/relationships/tags" Target="../tags/tag192.xml"/><Relationship Id="rId101" Type="http://schemas.openxmlformats.org/officeDocument/2006/relationships/tags" Target="../tags/tag194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3" Type="http://schemas.openxmlformats.org/officeDocument/2006/relationships/tags" Target="../tags/tag106.xml"/><Relationship Id="rId18" Type="http://schemas.openxmlformats.org/officeDocument/2006/relationships/tags" Target="../tags/tag111.xml"/><Relationship Id="rId39" Type="http://schemas.openxmlformats.org/officeDocument/2006/relationships/tags" Target="../tags/tag132.xml"/><Relationship Id="rId109" Type="http://schemas.openxmlformats.org/officeDocument/2006/relationships/tags" Target="../tags/tag202.xml"/><Relationship Id="rId34" Type="http://schemas.openxmlformats.org/officeDocument/2006/relationships/tags" Target="../tags/tag127.xml"/><Relationship Id="rId50" Type="http://schemas.openxmlformats.org/officeDocument/2006/relationships/tags" Target="../tags/tag143.xml"/><Relationship Id="rId55" Type="http://schemas.openxmlformats.org/officeDocument/2006/relationships/tags" Target="../tags/tag148.xml"/><Relationship Id="rId76" Type="http://schemas.openxmlformats.org/officeDocument/2006/relationships/tags" Target="../tags/tag169.xml"/><Relationship Id="rId97" Type="http://schemas.openxmlformats.org/officeDocument/2006/relationships/tags" Target="../tags/tag190.xml"/><Relationship Id="rId104" Type="http://schemas.openxmlformats.org/officeDocument/2006/relationships/tags" Target="../tags/tag197.xml"/><Relationship Id="rId120" Type="http://schemas.openxmlformats.org/officeDocument/2006/relationships/oleObject" Target="../embeddings/oleObject7.bin"/><Relationship Id="rId7" Type="http://schemas.openxmlformats.org/officeDocument/2006/relationships/tags" Target="../tags/tag100.xml"/><Relationship Id="rId71" Type="http://schemas.openxmlformats.org/officeDocument/2006/relationships/tags" Target="../tags/tag164.xml"/><Relationship Id="rId92" Type="http://schemas.openxmlformats.org/officeDocument/2006/relationships/tags" Target="../tags/tag185.xml"/><Relationship Id="rId2" Type="http://schemas.openxmlformats.org/officeDocument/2006/relationships/tags" Target="../tags/tag95.xml"/><Relationship Id="rId29" Type="http://schemas.openxmlformats.org/officeDocument/2006/relationships/tags" Target="../tags/tag122.xml"/><Relationship Id="rId24" Type="http://schemas.openxmlformats.org/officeDocument/2006/relationships/tags" Target="../tags/tag117.xml"/><Relationship Id="rId40" Type="http://schemas.openxmlformats.org/officeDocument/2006/relationships/tags" Target="../tags/tag133.xml"/><Relationship Id="rId45" Type="http://schemas.openxmlformats.org/officeDocument/2006/relationships/tags" Target="../tags/tag138.xml"/><Relationship Id="rId66" Type="http://schemas.openxmlformats.org/officeDocument/2006/relationships/tags" Target="../tags/tag159.xml"/><Relationship Id="rId87" Type="http://schemas.openxmlformats.org/officeDocument/2006/relationships/tags" Target="../tags/tag180.xml"/><Relationship Id="rId110" Type="http://schemas.openxmlformats.org/officeDocument/2006/relationships/tags" Target="../tags/tag203.xml"/><Relationship Id="rId115" Type="http://schemas.openxmlformats.org/officeDocument/2006/relationships/tags" Target="../tags/tag208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35.xml"/><Relationship Id="rId21" Type="http://schemas.openxmlformats.org/officeDocument/2006/relationships/tags" Target="../tags/tag230.xml"/><Relationship Id="rId34" Type="http://schemas.openxmlformats.org/officeDocument/2006/relationships/tags" Target="../tags/tag243.xml"/><Relationship Id="rId42" Type="http://schemas.openxmlformats.org/officeDocument/2006/relationships/tags" Target="../tags/tag251.xml"/><Relationship Id="rId47" Type="http://schemas.openxmlformats.org/officeDocument/2006/relationships/tags" Target="../tags/tag256.xml"/><Relationship Id="rId50" Type="http://schemas.openxmlformats.org/officeDocument/2006/relationships/tags" Target="../tags/tag259.xml"/><Relationship Id="rId55" Type="http://schemas.openxmlformats.org/officeDocument/2006/relationships/tags" Target="../tags/tag264.xml"/><Relationship Id="rId63" Type="http://schemas.openxmlformats.org/officeDocument/2006/relationships/tags" Target="../tags/tag272.xml"/><Relationship Id="rId68" Type="http://schemas.openxmlformats.org/officeDocument/2006/relationships/tags" Target="../tags/tag277.xml"/><Relationship Id="rId76" Type="http://schemas.openxmlformats.org/officeDocument/2006/relationships/tags" Target="../tags/tag285.xml"/><Relationship Id="rId84" Type="http://schemas.openxmlformats.org/officeDocument/2006/relationships/tags" Target="../tags/tag293.xml"/><Relationship Id="rId89" Type="http://schemas.openxmlformats.org/officeDocument/2006/relationships/tags" Target="../tags/tag298.xml"/><Relationship Id="rId97" Type="http://schemas.openxmlformats.org/officeDocument/2006/relationships/image" Target="../media/image9.emf"/><Relationship Id="rId7" Type="http://schemas.openxmlformats.org/officeDocument/2006/relationships/tags" Target="../tags/tag216.xml"/><Relationship Id="rId71" Type="http://schemas.openxmlformats.org/officeDocument/2006/relationships/tags" Target="../tags/tag280.xml"/><Relationship Id="rId92" Type="http://schemas.openxmlformats.org/officeDocument/2006/relationships/tags" Target="../tags/tag301.xml"/><Relationship Id="rId2" Type="http://schemas.openxmlformats.org/officeDocument/2006/relationships/tags" Target="../tags/tag211.xml"/><Relationship Id="rId16" Type="http://schemas.openxmlformats.org/officeDocument/2006/relationships/tags" Target="../tags/tag225.xml"/><Relationship Id="rId29" Type="http://schemas.openxmlformats.org/officeDocument/2006/relationships/tags" Target="../tags/tag238.xml"/><Relationship Id="rId11" Type="http://schemas.openxmlformats.org/officeDocument/2006/relationships/tags" Target="../tags/tag220.xml"/><Relationship Id="rId24" Type="http://schemas.openxmlformats.org/officeDocument/2006/relationships/tags" Target="../tags/tag233.xml"/><Relationship Id="rId32" Type="http://schemas.openxmlformats.org/officeDocument/2006/relationships/tags" Target="../tags/tag241.xml"/><Relationship Id="rId37" Type="http://schemas.openxmlformats.org/officeDocument/2006/relationships/tags" Target="../tags/tag246.xml"/><Relationship Id="rId40" Type="http://schemas.openxmlformats.org/officeDocument/2006/relationships/tags" Target="../tags/tag249.xml"/><Relationship Id="rId45" Type="http://schemas.openxmlformats.org/officeDocument/2006/relationships/tags" Target="../tags/tag254.xml"/><Relationship Id="rId53" Type="http://schemas.openxmlformats.org/officeDocument/2006/relationships/tags" Target="../tags/tag262.xml"/><Relationship Id="rId58" Type="http://schemas.openxmlformats.org/officeDocument/2006/relationships/tags" Target="../tags/tag267.xml"/><Relationship Id="rId66" Type="http://schemas.openxmlformats.org/officeDocument/2006/relationships/tags" Target="../tags/tag275.xml"/><Relationship Id="rId74" Type="http://schemas.openxmlformats.org/officeDocument/2006/relationships/tags" Target="../tags/tag283.xml"/><Relationship Id="rId79" Type="http://schemas.openxmlformats.org/officeDocument/2006/relationships/tags" Target="../tags/tag288.xml"/><Relationship Id="rId87" Type="http://schemas.openxmlformats.org/officeDocument/2006/relationships/tags" Target="../tags/tag296.xml"/><Relationship Id="rId5" Type="http://schemas.openxmlformats.org/officeDocument/2006/relationships/tags" Target="../tags/tag214.xml"/><Relationship Id="rId61" Type="http://schemas.openxmlformats.org/officeDocument/2006/relationships/tags" Target="../tags/tag270.xml"/><Relationship Id="rId82" Type="http://schemas.openxmlformats.org/officeDocument/2006/relationships/tags" Target="../tags/tag291.xml"/><Relationship Id="rId90" Type="http://schemas.openxmlformats.org/officeDocument/2006/relationships/tags" Target="../tags/tag299.xml"/><Relationship Id="rId95" Type="http://schemas.openxmlformats.org/officeDocument/2006/relationships/slideLayout" Target="../slideLayouts/slideLayout15.xml"/><Relationship Id="rId19" Type="http://schemas.openxmlformats.org/officeDocument/2006/relationships/tags" Target="../tags/tag228.xml"/><Relationship Id="rId14" Type="http://schemas.openxmlformats.org/officeDocument/2006/relationships/tags" Target="../tags/tag223.xml"/><Relationship Id="rId22" Type="http://schemas.openxmlformats.org/officeDocument/2006/relationships/tags" Target="../tags/tag231.xml"/><Relationship Id="rId27" Type="http://schemas.openxmlformats.org/officeDocument/2006/relationships/tags" Target="../tags/tag236.xml"/><Relationship Id="rId30" Type="http://schemas.openxmlformats.org/officeDocument/2006/relationships/tags" Target="../tags/tag239.xml"/><Relationship Id="rId35" Type="http://schemas.openxmlformats.org/officeDocument/2006/relationships/tags" Target="../tags/tag244.xml"/><Relationship Id="rId43" Type="http://schemas.openxmlformats.org/officeDocument/2006/relationships/tags" Target="../tags/tag252.xml"/><Relationship Id="rId48" Type="http://schemas.openxmlformats.org/officeDocument/2006/relationships/tags" Target="../tags/tag257.xml"/><Relationship Id="rId56" Type="http://schemas.openxmlformats.org/officeDocument/2006/relationships/tags" Target="../tags/tag265.xml"/><Relationship Id="rId64" Type="http://schemas.openxmlformats.org/officeDocument/2006/relationships/tags" Target="../tags/tag273.xml"/><Relationship Id="rId69" Type="http://schemas.openxmlformats.org/officeDocument/2006/relationships/tags" Target="../tags/tag278.xml"/><Relationship Id="rId77" Type="http://schemas.openxmlformats.org/officeDocument/2006/relationships/tags" Target="../tags/tag286.xml"/><Relationship Id="rId8" Type="http://schemas.openxmlformats.org/officeDocument/2006/relationships/tags" Target="../tags/tag217.xml"/><Relationship Id="rId51" Type="http://schemas.openxmlformats.org/officeDocument/2006/relationships/tags" Target="../tags/tag260.xml"/><Relationship Id="rId72" Type="http://schemas.openxmlformats.org/officeDocument/2006/relationships/tags" Target="../tags/tag281.xml"/><Relationship Id="rId80" Type="http://schemas.openxmlformats.org/officeDocument/2006/relationships/tags" Target="../tags/tag289.xml"/><Relationship Id="rId85" Type="http://schemas.openxmlformats.org/officeDocument/2006/relationships/tags" Target="../tags/tag294.xml"/><Relationship Id="rId93" Type="http://schemas.openxmlformats.org/officeDocument/2006/relationships/tags" Target="../tags/tag302.xml"/><Relationship Id="rId3" Type="http://schemas.openxmlformats.org/officeDocument/2006/relationships/tags" Target="../tags/tag212.xml"/><Relationship Id="rId12" Type="http://schemas.openxmlformats.org/officeDocument/2006/relationships/tags" Target="../tags/tag221.xml"/><Relationship Id="rId17" Type="http://schemas.openxmlformats.org/officeDocument/2006/relationships/tags" Target="../tags/tag226.xml"/><Relationship Id="rId25" Type="http://schemas.openxmlformats.org/officeDocument/2006/relationships/tags" Target="../tags/tag234.xml"/><Relationship Id="rId33" Type="http://schemas.openxmlformats.org/officeDocument/2006/relationships/tags" Target="../tags/tag242.xml"/><Relationship Id="rId38" Type="http://schemas.openxmlformats.org/officeDocument/2006/relationships/tags" Target="../tags/tag247.xml"/><Relationship Id="rId46" Type="http://schemas.openxmlformats.org/officeDocument/2006/relationships/tags" Target="../tags/tag255.xml"/><Relationship Id="rId59" Type="http://schemas.openxmlformats.org/officeDocument/2006/relationships/tags" Target="../tags/tag268.xml"/><Relationship Id="rId67" Type="http://schemas.openxmlformats.org/officeDocument/2006/relationships/tags" Target="../tags/tag276.xml"/><Relationship Id="rId20" Type="http://schemas.openxmlformats.org/officeDocument/2006/relationships/tags" Target="../tags/tag229.xml"/><Relationship Id="rId41" Type="http://schemas.openxmlformats.org/officeDocument/2006/relationships/tags" Target="../tags/tag250.xml"/><Relationship Id="rId54" Type="http://schemas.openxmlformats.org/officeDocument/2006/relationships/tags" Target="../tags/tag263.xml"/><Relationship Id="rId62" Type="http://schemas.openxmlformats.org/officeDocument/2006/relationships/tags" Target="../tags/tag271.xml"/><Relationship Id="rId70" Type="http://schemas.openxmlformats.org/officeDocument/2006/relationships/tags" Target="../tags/tag279.xml"/><Relationship Id="rId75" Type="http://schemas.openxmlformats.org/officeDocument/2006/relationships/tags" Target="../tags/tag284.xml"/><Relationship Id="rId83" Type="http://schemas.openxmlformats.org/officeDocument/2006/relationships/tags" Target="../tags/tag292.xml"/><Relationship Id="rId88" Type="http://schemas.openxmlformats.org/officeDocument/2006/relationships/tags" Target="../tags/tag297.xml"/><Relationship Id="rId91" Type="http://schemas.openxmlformats.org/officeDocument/2006/relationships/tags" Target="../tags/tag300.xml"/><Relationship Id="rId96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215.xml"/><Relationship Id="rId15" Type="http://schemas.openxmlformats.org/officeDocument/2006/relationships/tags" Target="../tags/tag224.xml"/><Relationship Id="rId23" Type="http://schemas.openxmlformats.org/officeDocument/2006/relationships/tags" Target="../tags/tag232.xml"/><Relationship Id="rId28" Type="http://schemas.openxmlformats.org/officeDocument/2006/relationships/tags" Target="../tags/tag237.xml"/><Relationship Id="rId36" Type="http://schemas.openxmlformats.org/officeDocument/2006/relationships/tags" Target="../tags/tag245.xml"/><Relationship Id="rId49" Type="http://schemas.openxmlformats.org/officeDocument/2006/relationships/tags" Target="../tags/tag258.xml"/><Relationship Id="rId57" Type="http://schemas.openxmlformats.org/officeDocument/2006/relationships/tags" Target="../tags/tag266.xml"/><Relationship Id="rId10" Type="http://schemas.openxmlformats.org/officeDocument/2006/relationships/tags" Target="../tags/tag219.xml"/><Relationship Id="rId31" Type="http://schemas.openxmlformats.org/officeDocument/2006/relationships/tags" Target="../tags/tag240.xml"/><Relationship Id="rId44" Type="http://schemas.openxmlformats.org/officeDocument/2006/relationships/tags" Target="../tags/tag253.xml"/><Relationship Id="rId52" Type="http://schemas.openxmlformats.org/officeDocument/2006/relationships/tags" Target="../tags/tag261.xml"/><Relationship Id="rId60" Type="http://schemas.openxmlformats.org/officeDocument/2006/relationships/tags" Target="../tags/tag269.xml"/><Relationship Id="rId65" Type="http://schemas.openxmlformats.org/officeDocument/2006/relationships/tags" Target="../tags/tag274.xml"/><Relationship Id="rId73" Type="http://schemas.openxmlformats.org/officeDocument/2006/relationships/tags" Target="../tags/tag282.xml"/><Relationship Id="rId78" Type="http://schemas.openxmlformats.org/officeDocument/2006/relationships/tags" Target="../tags/tag287.xml"/><Relationship Id="rId81" Type="http://schemas.openxmlformats.org/officeDocument/2006/relationships/tags" Target="../tags/tag290.xml"/><Relationship Id="rId86" Type="http://schemas.openxmlformats.org/officeDocument/2006/relationships/tags" Target="../tags/tag295.xml"/><Relationship Id="rId94" Type="http://schemas.openxmlformats.org/officeDocument/2006/relationships/tags" Target="../tags/tag303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3" Type="http://schemas.openxmlformats.org/officeDocument/2006/relationships/tags" Target="../tags/tag222.xml"/><Relationship Id="rId18" Type="http://schemas.openxmlformats.org/officeDocument/2006/relationships/tags" Target="../tags/tag227.xml"/><Relationship Id="rId39" Type="http://schemas.openxmlformats.org/officeDocument/2006/relationships/tags" Target="../tags/tag2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7931875"/>
              </p:ext>
            </p:extLst>
          </p:nvPr>
        </p:nvGraphicFramePr>
        <p:xfrm>
          <a:off x="1358" y="197515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86" imgW="383" imgH="384" progId="TCLayout.ActiveDocument.1">
                  <p:embed/>
                </p:oleObj>
              </mc:Choice>
              <mc:Fallback>
                <p:oleObj name="think-cell Slide" r:id="rId86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87"/>
                      <a:stretch>
                        <a:fillRect/>
                      </a:stretch>
                    </p:blipFill>
                    <p:spPr>
                      <a:xfrm>
                        <a:off x="1358" y="197515"/>
                        <a:ext cx="1357" cy="13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196156"/>
            <a:ext cx="135748" cy="135748"/>
          </a:xfrm>
          <a:prstGeom prst="rect">
            <a:avLst/>
          </a:prstGeom>
          <a:solidFill>
            <a:srgbClr val="1E2F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da-DK" sz="105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sz="3200" b="1" dirty="0"/>
              <a:t>Spor a og b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1</a:t>
            </a:fld>
            <a:endParaRPr lang="da-DK"/>
          </a:p>
        </p:txBody>
      </p:sp>
      <p:sp>
        <p:nvSpPr>
          <p:cNvPr id="20" name="Rectangle 19"/>
          <p:cNvSpPr/>
          <p:nvPr>
            <p:custDataLst>
              <p:tags r:id="rId4"/>
            </p:custDataLst>
          </p:nvPr>
        </p:nvSpPr>
        <p:spPr bwMode="auto">
          <a:xfrm>
            <a:off x="393670" y="2201863"/>
            <a:ext cx="8355303" cy="37147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/>
            <a:endParaRPr lang="en-GB" sz="1539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>
            <p:custDataLst>
              <p:tags r:id="rId5"/>
            </p:custDataLst>
          </p:nvPr>
        </p:nvSpPr>
        <p:spPr bwMode="auto">
          <a:xfrm>
            <a:off x="393670" y="3968750"/>
            <a:ext cx="8355303" cy="536575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5142" tIns="42571" rIns="85142" bIns="42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39">
              <a:solidFill>
                <a:schemeClr val="tx1"/>
              </a:solidFill>
            </a:endParaRPr>
          </a:p>
        </p:txBody>
      </p:sp>
      <p:sp>
        <p:nvSpPr>
          <p:cNvPr id="164" name="Rectangle 268">
            <a:extLst>
              <a:ext uri="{FF2B5EF4-FFF2-40B4-BE49-F238E27FC236}">
                <a16:creationId xmlns:a16="http://schemas.microsoft.com/office/drawing/2014/main" id="{7D7AD6A8-D636-44DA-82CC-892826D0CC0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187575" y="1795463"/>
            <a:ext cx="71120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77F2CEBA-C018-4FF3-B9F5-E3FF2F5513C1}" type="datetime'''''''de''c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dec</a:t>
            </a:fld>
            <a:endParaRPr lang="da-DK" sz="1026">
              <a:sym typeface="+mn-lt"/>
            </a:endParaRPr>
          </a:p>
        </p:txBody>
      </p:sp>
      <p:sp>
        <p:nvSpPr>
          <p:cNvPr id="186" name="Rectangle 268">
            <a:extLst>
              <a:ext uri="{FF2B5EF4-FFF2-40B4-BE49-F238E27FC236}">
                <a16:creationId xmlns:a16="http://schemas.microsoft.com/office/drawing/2014/main" id="{F2F73622-84DF-4422-93CE-240D013BBFDA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898775" y="1795463"/>
            <a:ext cx="137953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F97AD3AE-C333-4524-A264-CA02E8FDE1FF}" type="datetime'''''''j''''a''''''''''''''''''n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jan</a:t>
            </a:fld>
            <a:endParaRPr lang="da-DK" sz="1026">
              <a:sym typeface="+mn-lt"/>
            </a:endParaRPr>
          </a:p>
        </p:txBody>
      </p:sp>
      <p:sp>
        <p:nvSpPr>
          <p:cNvPr id="187" name="Rectangle 268">
            <a:extLst>
              <a:ext uri="{FF2B5EF4-FFF2-40B4-BE49-F238E27FC236}">
                <a16:creationId xmlns:a16="http://schemas.microsoft.com/office/drawing/2014/main" id="{63D38C42-F84D-43D3-B314-560A9BB4A251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278312" y="1795463"/>
            <a:ext cx="12890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BF3C45C6-B53A-490B-A4B3-B83E018E52FA}" type="datetime'''''''''''''''''''''''f''''''e''''''''''''''''''b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feb</a:t>
            </a:fld>
            <a:endParaRPr lang="da-DK" sz="1026">
              <a:sym typeface="+mn-lt"/>
            </a:endParaRPr>
          </a:p>
        </p:txBody>
      </p:sp>
      <p:sp>
        <p:nvSpPr>
          <p:cNvPr id="188" name="Rectangle 268">
            <a:extLst>
              <a:ext uri="{FF2B5EF4-FFF2-40B4-BE49-F238E27FC236}">
                <a16:creationId xmlns:a16="http://schemas.microsoft.com/office/drawing/2014/main" id="{F3BB96EE-6DD6-4D8A-98AA-9C734BEAC06B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567363" y="1795463"/>
            <a:ext cx="137953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C9903DDC-A4A6-4A44-BA2C-9381B125B861}" type="datetime'''''''m''''''''''''''''a''''''''r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mar</a:t>
            </a:fld>
            <a:endParaRPr lang="da-DK" sz="1026">
              <a:sym typeface="+mn-lt"/>
            </a:endParaRPr>
          </a:p>
        </p:txBody>
      </p:sp>
      <p:sp>
        <p:nvSpPr>
          <p:cNvPr id="189" name="Rectangle 268">
            <a:extLst>
              <a:ext uri="{FF2B5EF4-FFF2-40B4-BE49-F238E27FC236}">
                <a16:creationId xmlns:a16="http://schemas.microsoft.com/office/drawing/2014/main" id="{1C6A9896-70C3-4682-89FC-5FBA0015BA90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946899" y="1795463"/>
            <a:ext cx="2222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13122C01-825E-4BDA-8984-DDB714EAE51E}" type="datetime'''''''''''''''''''''''a''''''''''''''''''pr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apr</a:t>
            </a:fld>
            <a:endParaRPr lang="da-DK" sz="1026">
              <a:sym typeface="+mn-lt"/>
            </a:endParaRPr>
          </a:p>
        </p:txBody>
      </p:sp>
      <p:sp>
        <p:nvSpPr>
          <p:cNvPr id="106" name="Rectangle 268">
            <a:extLst>
              <a:ext uri="{FF2B5EF4-FFF2-40B4-BE49-F238E27FC236}">
                <a16:creationId xmlns:a16="http://schemas.microsoft.com/office/drawing/2014/main" id="{93CA4B4B-9C2B-4EE5-98B6-0E354E78DBEE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87575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45FA2F3C-CC69-4E5E-A5C5-F289B8062B5B}" type="datetime'''''5''''''''''''''''''''''''''''''''1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51</a:t>
            </a:fld>
            <a:endParaRPr lang="da-DK" sz="1026">
              <a:sym typeface="+mn-lt"/>
            </a:endParaRPr>
          </a:p>
        </p:txBody>
      </p:sp>
      <p:sp>
        <p:nvSpPr>
          <p:cNvPr id="171" name="Rectangle 268">
            <a:extLst>
              <a:ext uri="{FF2B5EF4-FFF2-40B4-BE49-F238E27FC236}">
                <a16:creationId xmlns:a16="http://schemas.microsoft.com/office/drawing/2014/main" id="{EB841CAE-CCAE-4093-8A8E-C757A27D7016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498725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188A0920-BC2F-4CBC-A82C-367D4821E548}" type="datetime'''''''''''''''''''''''''''5''''''''''''''''2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52</a:t>
            </a:fld>
            <a:endParaRPr lang="da-DK" sz="1026">
              <a:sym typeface="+mn-lt"/>
            </a:endParaRPr>
          </a:p>
        </p:txBody>
      </p:sp>
      <p:sp>
        <p:nvSpPr>
          <p:cNvPr id="172" name="Rectangle 268">
            <a:extLst>
              <a:ext uri="{FF2B5EF4-FFF2-40B4-BE49-F238E27FC236}">
                <a16:creationId xmlns:a16="http://schemas.microsoft.com/office/drawing/2014/main" id="{0780F05C-D7F8-489B-91CB-D073B2178716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809875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EA47AFBB-AED2-4133-B595-4AEFC5C86938}" type="datetime'''''''''''''''''''''0''''''''1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1</a:t>
            </a:fld>
            <a:endParaRPr lang="da-DK" sz="1026">
              <a:sym typeface="+mn-lt"/>
            </a:endParaRPr>
          </a:p>
        </p:txBody>
      </p:sp>
      <p:sp>
        <p:nvSpPr>
          <p:cNvPr id="173" name="Rectangle 268">
            <a:extLst>
              <a:ext uri="{FF2B5EF4-FFF2-40B4-BE49-F238E27FC236}">
                <a16:creationId xmlns:a16="http://schemas.microsoft.com/office/drawing/2014/main" id="{BACE4329-18B3-4DC7-BB3B-7197A550DD9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21025" y="1998663"/>
            <a:ext cx="31273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6891193F-73A7-4721-B933-478A1AA23389}" type="datetime'''''0''''''''''''''''''''''''''''''''''''''2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2</a:t>
            </a:fld>
            <a:endParaRPr lang="da-DK" sz="1026">
              <a:sym typeface="+mn-lt"/>
            </a:endParaRPr>
          </a:p>
        </p:txBody>
      </p:sp>
      <p:sp>
        <p:nvSpPr>
          <p:cNvPr id="174" name="Rectangle 268">
            <a:extLst>
              <a:ext uri="{FF2B5EF4-FFF2-40B4-BE49-F238E27FC236}">
                <a16:creationId xmlns:a16="http://schemas.microsoft.com/office/drawing/2014/main" id="{609BF7AB-01CD-4D38-9558-C8549D3E9992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43376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2098E2C3-12B5-4DA2-93E2-2E88E4620D6C}" type="datetime'''''''''''''''''''''''''''''''''''''0''''''''''''''3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3</a:t>
            </a:fld>
            <a:endParaRPr lang="da-DK" sz="1026">
              <a:sym typeface="+mn-lt"/>
            </a:endParaRPr>
          </a:p>
        </p:txBody>
      </p:sp>
      <p:sp>
        <p:nvSpPr>
          <p:cNvPr id="175" name="Rectangle 268">
            <a:extLst>
              <a:ext uri="{FF2B5EF4-FFF2-40B4-BE49-F238E27FC236}">
                <a16:creationId xmlns:a16="http://schemas.microsoft.com/office/drawing/2014/main" id="{3E870BBB-4FAE-48CD-8844-DD403EA01B8D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74491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5AC26C94-6A15-4BE1-BC64-F6CF502CC752}" type="datetime'''0''''''4''''''''''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4</a:t>
            </a:fld>
            <a:endParaRPr lang="da-DK" sz="1026">
              <a:sym typeface="+mn-lt"/>
            </a:endParaRPr>
          </a:p>
        </p:txBody>
      </p:sp>
      <p:sp>
        <p:nvSpPr>
          <p:cNvPr id="176" name="Rectangle 268">
            <a:extLst>
              <a:ext uri="{FF2B5EF4-FFF2-40B4-BE49-F238E27FC236}">
                <a16:creationId xmlns:a16="http://schemas.microsoft.com/office/drawing/2014/main" id="{752C1680-0DEC-4EEB-B8A4-F4BBDB3A67A5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05606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04A485C2-121D-484C-8672-04CA79A288EC}" type="datetime'''''''''''''''''''''''0''''''''''''''''5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5</a:t>
            </a:fld>
            <a:endParaRPr lang="da-DK" sz="1026">
              <a:sym typeface="+mn-lt"/>
            </a:endParaRPr>
          </a:p>
        </p:txBody>
      </p:sp>
      <p:sp>
        <p:nvSpPr>
          <p:cNvPr id="177" name="Rectangle 268">
            <a:extLst>
              <a:ext uri="{FF2B5EF4-FFF2-40B4-BE49-F238E27FC236}">
                <a16:creationId xmlns:a16="http://schemas.microsoft.com/office/drawing/2014/main" id="{C820E0E3-0F2D-4598-8B8E-98E002D12DEB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36721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0BE61E77-5790-4020-8A3C-7AE8A51DD174}" type="datetime'''''''''''''''''''''''''''''''''''''''''0''''''6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6</a:t>
            </a:fld>
            <a:endParaRPr lang="da-DK" sz="1026">
              <a:sym typeface="+mn-lt"/>
            </a:endParaRPr>
          </a:p>
        </p:txBody>
      </p:sp>
      <p:sp>
        <p:nvSpPr>
          <p:cNvPr id="178" name="Rectangle 268">
            <a:extLst>
              <a:ext uri="{FF2B5EF4-FFF2-40B4-BE49-F238E27FC236}">
                <a16:creationId xmlns:a16="http://schemas.microsoft.com/office/drawing/2014/main" id="{7FB4013B-E03B-4E8D-A744-CAD7CC36B038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67836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ACC4FEB-842C-4708-A0F9-E8E9907D3D4B}" type="datetime'''''''''''''''''''''0''''''''''''''''''7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7</a:t>
            </a:fld>
            <a:endParaRPr lang="da-DK" sz="1026">
              <a:sym typeface="+mn-lt"/>
            </a:endParaRPr>
          </a:p>
        </p:txBody>
      </p:sp>
      <p:sp>
        <p:nvSpPr>
          <p:cNvPr id="179" name="Rectangle 268">
            <a:extLst>
              <a:ext uri="{FF2B5EF4-FFF2-40B4-BE49-F238E27FC236}">
                <a16:creationId xmlns:a16="http://schemas.microsoft.com/office/drawing/2014/main" id="{5ABC6708-1D85-4DDE-8847-F93AF0B68E7C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498951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3B13AF3D-2D7D-45F7-8935-4171DE7B00DB}" type="datetime'''''''''''''''''''''''''''''''0''''''''''''''8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8</a:t>
            </a:fld>
            <a:endParaRPr lang="da-DK" sz="1026">
              <a:sym typeface="+mn-lt"/>
            </a:endParaRPr>
          </a:p>
        </p:txBody>
      </p:sp>
      <p:sp>
        <p:nvSpPr>
          <p:cNvPr id="180" name="Rectangle 268">
            <a:extLst>
              <a:ext uri="{FF2B5EF4-FFF2-40B4-BE49-F238E27FC236}">
                <a16:creationId xmlns:a16="http://schemas.microsoft.com/office/drawing/2014/main" id="{AF0689E7-FC42-4962-B019-AC80FB579AC9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300663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FF7EEE78-AAF9-4C7A-9556-75B54DC955F7}" type="datetime'''''''''''''''''''''''''''''''''''''''''''''''''''0''9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9</a:t>
            </a:fld>
            <a:endParaRPr lang="da-DK" sz="1026">
              <a:sym typeface="+mn-lt"/>
            </a:endParaRPr>
          </a:p>
        </p:txBody>
      </p:sp>
      <p:sp>
        <p:nvSpPr>
          <p:cNvPr id="181" name="Rectangle 268">
            <a:extLst>
              <a:ext uri="{FF2B5EF4-FFF2-40B4-BE49-F238E27FC236}">
                <a16:creationId xmlns:a16="http://schemas.microsoft.com/office/drawing/2014/main" id="{89059A50-9CA8-475A-BF04-8B75557CE619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611813" y="1998663"/>
            <a:ext cx="31273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BC048BCE-3B6A-4902-955A-56AECB492681}" type="datetime'''''''1''''''''''''''''''''''''''''''''''''''''''''''''0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0</a:t>
            </a:fld>
            <a:endParaRPr lang="da-DK" sz="1026">
              <a:sym typeface="+mn-lt"/>
            </a:endParaRPr>
          </a:p>
        </p:txBody>
      </p:sp>
      <p:sp>
        <p:nvSpPr>
          <p:cNvPr id="182" name="Rectangle 268">
            <a:extLst>
              <a:ext uri="{FF2B5EF4-FFF2-40B4-BE49-F238E27FC236}">
                <a16:creationId xmlns:a16="http://schemas.microsoft.com/office/drawing/2014/main" id="{64974142-F0BE-488A-AA09-19AFAB76407E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924550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4E759C8-E41F-4E22-8DAD-4A28728B8F41}" type="datetime'''''''''''''''''''''''''''''''''''''1''''1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1</a:t>
            </a:fld>
            <a:endParaRPr lang="da-DK" sz="1026">
              <a:sym typeface="+mn-lt"/>
            </a:endParaRPr>
          </a:p>
        </p:txBody>
      </p:sp>
      <p:sp>
        <p:nvSpPr>
          <p:cNvPr id="183" name="Rectangle 268">
            <a:extLst>
              <a:ext uri="{FF2B5EF4-FFF2-40B4-BE49-F238E27FC236}">
                <a16:creationId xmlns:a16="http://schemas.microsoft.com/office/drawing/2014/main" id="{E0F53694-509C-489D-88D5-FBE7909C335B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235700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665D214D-36BE-4665-B8E6-3ADBE875B94C}" type="datetime'''''''''''''1''''''''''2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2</a:t>
            </a:fld>
            <a:endParaRPr lang="da-DK" sz="1026">
              <a:sym typeface="+mn-lt"/>
            </a:endParaRPr>
          </a:p>
        </p:txBody>
      </p:sp>
      <p:sp>
        <p:nvSpPr>
          <p:cNvPr id="184" name="Rectangle 268">
            <a:extLst>
              <a:ext uri="{FF2B5EF4-FFF2-40B4-BE49-F238E27FC236}">
                <a16:creationId xmlns:a16="http://schemas.microsoft.com/office/drawing/2014/main" id="{7370BC8C-CF98-473A-801D-0748C32A9E7B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546850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CEEA9AE7-9796-4E55-AF84-AA5DC486F96E}" type="datetime'''''''''''''''''''''''13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3</a:t>
            </a:fld>
            <a:endParaRPr lang="da-DK" sz="1026">
              <a:sym typeface="+mn-lt"/>
            </a:endParaRPr>
          </a:p>
        </p:txBody>
      </p:sp>
      <p:sp>
        <p:nvSpPr>
          <p:cNvPr id="185" name="Rectangle 268">
            <a:extLst>
              <a:ext uri="{FF2B5EF4-FFF2-40B4-BE49-F238E27FC236}">
                <a16:creationId xmlns:a16="http://schemas.microsoft.com/office/drawing/2014/main" id="{3AAA5FB7-1C20-460B-8336-575DB22AE7E7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858000" y="1998663"/>
            <a:ext cx="3111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1C6AE998-102A-4F12-9ED3-2216ACA1CEBE}" type="datetime'''''''''''''''''''''''''''''''''''''''''''''''''1''''''''4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4</a:t>
            </a:fld>
            <a:endParaRPr lang="da-DK" sz="1026">
              <a:sym typeface="+mn-lt"/>
            </a:endParaRPr>
          </a:p>
        </p:txBody>
      </p:sp>
      <p:sp>
        <p:nvSpPr>
          <p:cNvPr id="51" name="Line 594"/>
          <p:cNvSpPr>
            <a:spLocks noChangeShapeType="1"/>
          </p:cNvSpPr>
          <p:nvPr>
            <p:custDataLst>
              <p:tags r:id="rId27"/>
            </p:custDataLst>
          </p:nvPr>
        </p:nvSpPr>
        <p:spPr bwMode="auto">
          <a:xfrm>
            <a:off x="7169150" y="2201863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cxnSp>
        <p:nvCxnSpPr>
          <p:cNvPr id="32" name="Lige forbindelse 31">
            <a:extLst>
              <a:ext uri="{FF2B5EF4-FFF2-40B4-BE49-F238E27FC236}">
                <a16:creationId xmlns:a16="http://schemas.microsoft.com/office/drawing/2014/main" id="{836873D9-3CB7-40C9-90B1-C2D4DA3D523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6946900" y="2201863"/>
            <a:ext cx="0" cy="355441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Lige forbindelse 30">
            <a:extLst>
              <a:ext uri="{FF2B5EF4-FFF2-40B4-BE49-F238E27FC236}">
                <a16:creationId xmlns:a16="http://schemas.microsoft.com/office/drawing/2014/main" id="{B0A7BBE9-8A6D-4DF2-B2DD-5890E9D4C0E8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5567363" y="2201863"/>
            <a:ext cx="0" cy="355441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Lige forbindelse 29">
            <a:extLst>
              <a:ext uri="{FF2B5EF4-FFF2-40B4-BE49-F238E27FC236}">
                <a16:creationId xmlns:a16="http://schemas.microsoft.com/office/drawing/2014/main" id="{494DEF70-F3D6-4773-B3BF-24E7988A783D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4278313" y="2201863"/>
            <a:ext cx="0" cy="355441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Lige forbindelse 28">
            <a:extLst>
              <a:ext uri="{FF2B5EF4-FFF2-40B4-BE49-F238E27FC236}">
                <a16:creationId xmlns:a16="http://schemas.microsoft.com/office/drawing/2014/main" id="{BDA74E3F-BAA9-49BC-90F1-70B0FD4DACF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auto">
          <a:xfrm>
            <a:off x="2898775" y="2201863"/>
            <a:ext cx="0" cy="3554412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Line 406"/>
          <p:cNvSpPr>
            <a:spLocks noChangeShapeType="1"/>
          </p:cNvSpPr>
          <p:nvPr>
            <p:custDataLst>
              <p:tags r:id="rId32"/>
            </p:custDataLst>
          </p:nvPr>
        </p:nvSpPr>
        <p:spPr bwMode="auto">
          <a:xfrm>
            <a:off x="2187575" y="2201863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0" name="Line 409"/>
          <p:cNvSpPr>
            <a:spLocks noChangeShapeType="1"/>
          </p:cNvSpPr>
          <p:nvPr>
            <p:custDataLst>
              <p:tags r:id="rId33"/>
            </p:custDataLst>
          </p:nvPr>
        </p:nvSpPr>
        <p:spPr bwMode="auto">
          <a:xfrm>
            <a:off x="393670" y="2201863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39" name="Line 410"/>
          <p:cNvSpPr>
            <a:spLocks noChangeShapeType="1"/>
          </p:cNvSpPr>
          <p:nvPr>
            <p:custDataLst>
              <p:tags r:id="rId34"/>
            </p:custDataLst>
          </p:nvPr>
        </p:nvSpPr>
        <p:spPr bwMode="auto">
          <a:xfrm>
            <a:off x="8748973" y="2201863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cxnSp>
        <p:nvCxnSpPr>
          <p:cNvPr id="56" name="Straight Connector 55"/>
          <p:cNvCxnSpPr/>
          <p:nvPr>
            <p:custDataLst>
              <p:tags r:id="rId35"/>
            </p:custDataLst>
          </p:nvPr>
        </p:nvCxnSpPr>
        <p:spPr bwMode="auto">
          <a:xfrm>
            <a:off x="393670" y="3968750"/>
            <a:ext cx="835530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Line 408"/>
          <p:cNvSpPr>
            <a:spLocks noChangeShapeType="1"/>
          </p:cNvSpPr>
          <p:nvPr>
            <p:custDataLst>
              <p:tags r:id="rId36"/>
            </p:custDataLst>
          </p:nvPr>
        </p:nvSpPr>
        <p:spPr bwMode="auto">
          <a:xfrm>
            <a:off x="393670" y="5756275"/>
            <a:ext cx="835530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9" name="Line 407"/>
          <p:cNvSpPr>
            <a:spLocks noChangeShapeType="1"/>
          </p:cNvSpPr>
          <p:nvPr>
            <p:custDataLst>
              <p:tags r:id="rId37"/>
            </p:custDataLst>
          </p:nvPr>
        </p:nvSpPr>
        <p:spPr bwMode="auto">
          <a:xfrm>
            <a:off x="393670" y="2201863"/>
            <a:ext cx="835530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17" name="Pil: venstre 16">
            <a:extLst>
              <a:ext uri="{FF2B5EF4-FFF2-40B4-BE49-F238E27FC236}">
                <a16:creationId xmlns:a16="http://schemas.microsoft.com/office/drawing/2014/main" id="{485935BE-0A22-4672-9828-C4E09CA132B1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2085975" y="4584700"/>
            <a:ext cx="1525588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4" name="Pil: venstre 13">
            <a:extLst>
              <a:ext uri="{FF2B5EF4-FFF2-40B4-BE49-F238E27FC236}">
                <a16:creationId xmlns:a16="http://schemas.microsoft.com/office/drawing/2014/main" id="{216CA86D-C74E-47CA-A27B-A8E4D5CE7D32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2085974" y="2652713"/>
            <a:ext cx="1347788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21BE89FB-50DB-4D74-B54B-3161F9B62614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4322763" y="4965700"/>
            <a:ext cx="311150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5" name="Pil: venstre 14">
            <a:extLst>
              <a:ext uri="{FF2B5EF4-FFF2-40B4-BE49-F238E27FC236}">
                <a16:creationId xmlns:a16="http://schemas.microsoft.com/office/drawing/2014/main" id="{CCFF45AE-4C8F-45BD-BC8E-B7CD7DA9F970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2085974" y="2994025"/>
            <a:ext cx="2770188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A75BCD67-997F-4F1D-AB56-45D29E16B7DA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3656013" y="4965700"/>
            <a:ext cx="666750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6" name="Pil: venstre 15">
            <a:extLst>
              <a:ext uri="{FF2B5EF4-FFF2-40B4-BE49-F238E27FC236}">
                <a16:creationId xmlns:a16="http://schemas.microsoft.com/office/drawing/2014/main" id="{A3DB84AF-C33A-4491-9395-C12881A2F5A0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2085974" y="3335338"/>
            <a:ext cx="2770188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8BE0DFC1-8827-4E4C-B713-807ABF1DBBE6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4278312" y="5475288"/>
            <a:ext cx="2668588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1" name="Rombe 20">
            <a:extLst>
              <a:ext uri="{FF2B5EF4-FFF2-40B4-BE49-F238E27FC236}">
                <a16:creationId xmlns:a16="http://schemas.microsoft.com/office/drawing/2014/main" id="{23693D2F-2354-4066-821B-15794B930C04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4132263" y="26749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7" name="Rombe 26">
            <a:extLst>
              <a:ext uri="{FF2B5EF4-FFF2-40B4-BE49-F238E27FC236}">
                <a16:creationId xmlns:a16="http://schemas.microsoft.com/office/drawing/2014/main" id="{E564D52E-AB76-432B-842A-116A5BBB8DC9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4576763" y="49482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" name="Rombe 1">
            <a:extLst>
              <a:ext uri="{FF2B5EF4-FFF2-40B4-BE49-F238E27FC236}">
                <a16:creationId xmlns:a16="http://schemas.microsoft.com/office/drawing/2014/main" id="{0C55566F-ED88-4D0B-A343-7346C42D8FA0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4799013" y="301625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" name="Rombe 3">
            <a:extLst>
              <a:ext uri="{FF2B5EF4-FFF2-40B4-BE49-F238E27FC236}">
                <a16:creationId xmlns:a16="http://schemas.microsoft.com/office/drawing/2014/main" id="{9CB120C6-3FAD-4D4F-8F13-88C40CC77348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4799013" y="335756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2" name="Rombe 21">
            <a:extLst>
              <a:ext uri="{FF2B5EF4-FFF2-40B4-BE49-F238E27FC236}">
                <a16:creationId xmlns:a16="http://schemas.microsoft.com/office/drawing/2014/main" id="{A777028D-C75F-4DEE-952A-FFCF8D7CB1A8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3554413" y="460692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6" name="Rombe 25">
            <a:extLst>
              <a:ext uri="{FF2B5EF4-FFF2-40B4-BE49-F238E27FC236}">
                <a16:creationId xmlns:a16="http://schemas.microsoft.com/office/drawing/2014/main" id="{BE8D37CF-7C1D-44C4-B945-8A2B540F0F16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4221163" y="49482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9" name="Rombe 18">
            <a:extLst>
              <a:ext uri="{FF2B5EF4-FFF2-40B4-BE49-F238E27FC236}">
                <a16:creationId xmlns:a16="http://schemas.microsoft.com/office/drawing/2014/main" id="{C7C0D203-0136-4C06-825A-BB03540DEDED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3376613" y="26749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5" name="Rombe 24">
            <a:extLst>
              <a:ext uri="{FF2B5EF4-FFF2-40B4-BE49-F238E27FC236}">
                <a16:creationId xmlns:a16="http://schemas.microsoft.com/office/drawing/2014/main" id="{1A47DC0B-33B7-46F3-8438-2E651CE34CF0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3598863" y="49482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09" name="Text Placeholder 2">
            <a:extLst>
              <a:ext uri="{FF2B5EF4-FFF2-40B4-BE49-F238E27FC236}">
                <a16:creationId xmlns:a16="http://schemas.microsoft.com/office/drawing/2014/main" id="{8E1CF0B2-F566-460B-976F-73484CC39B24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7229475" y="3343275"/>
            <a:ext cx="749300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/>
              <a:t>17.12 Opslag</a:t>
            </a:r>
            <a:endParaRPr lang="da-DK" sz="1000" dirty="0">
              <a:sym typeface="+mn-lt"/>
            </a:endParaRPr>
          </a:p>
        </p:txBody>
      </p:sp>
      <p:sp>
        <p:nvSpPr>
          <p:cNvPr id="137" name="Rectangle 94">
            <a:extLst>
              <a:ext uri="{FF2B5EF4-FFF2-40B4-BE49-F238E27FC236}">
                <a16:creationId xmlns:a16="http://schemas.microsoft.com/office/drawing/2014/main" id="{E2A2F1D7-C29C-4C09-BF7B-83B2A2659D6C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151813" y="3343275"/>
            <a:ext cx="295275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 err="1">
                <a:solidFill>
                  <a:schemeClr val="tx1"/>
                </a:solidFill>
              </a:rPr>
              <a:t>MNC</a:t>
            </a:r>
            <a:endParaRPr lang="da-DK" sz="1026">
              <a:solidFill>
                <a:schemeClr val="tx1"/>
              </a:solidFill>
              <a:sym typeface="+mn-lt"/>
            </a:endParaRPr>
          </a:p>
        </p:txBody>
      </p:sp>
      <p:sp>
        <p:nvSpPr>
          <p:cNvPr id="138" name="Rectangle 378">
            <a:extLst>
              <a:ext uri="{FF2B5EF4-FFF2-40B4-BE49-F238E27FC236}">
                <a16:creationId xmlns:a16="http://schemas.microsoft.com/office/drawing/2014/main" id="{EC2DCCAA-C6E5-4927-A253-C96B896C3BB8}"/>
              </a:ext>
            </a:extLst>
          </p:cNvPr>
          <p:cNvSpPr>
            <a:spLocks noChangeArrowheads="1"/>
          </p:cNvSpPr>
          <p:nvPr>
            <p:custDataLst>
              <p:tags r:id="rId55"/>
            </p:custDataLst>
          </p:nvPr>
        </p:nvSpPr>
        <p:spPr bwMode="auto">
          <a:xfrm>
            <a:off x="454025" y="3684588"/>
            <a:ext cx="8286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>
                <a:sym typeface="+mn-lt"/>
              </a:rPr>
              <a:t>A9_Udmelding</a:t>
            </a:r>
            <a:endParaRPr lang="da-DK" sz="1000">
              <a:sym typeface="+mn-lt"/>
            </a:endParaRPr>
          </a:p>
        </p:txBody>
      </p:sp>
      <p:sp>
        <p:nvSpPr>
          <p:cNvPr id="97" name="Rectangle 378"/>
          <p:cNvSpPr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454025" y="4933950"/>
            <a:ext cx="7159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>
                <a:sym typeface="+mn-lt"/>
              </a:rPr>
              <a:t>B3 Placering</a:t>
            </a:r>
          </a:p>
        </p:txBody>
      </p:sp>
      <p:sp>
        <p:nvSpPr>
          <p:cNvPr id="139" name="Rectangle 94">
            <a:extLst>
              <a:ext uri="{FF2B5EF4-FFF2-40B4-BE49-F238E27FC236}">
                <a16:creationId xmlns:a16="http://schemas.microsoft.com/office/drawing/2014/main" id="{E8FE0B51-7BEC-42BA-AEC8-B65D34D91CCC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8151813" y="3684588"/>
            <a:ext cx="25400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>
                <a:solidFill>
                  <a:schemeClr val="tx1"/>
                </a:solidFill>
              </a:rPr>
              <a:t>TBV</a:t>
            </a:r>
            <a:endParaRPr lang="da-DK" sz="1026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Rectangle 378"/>
          <p:cNvSpPr>
            <a:spLocks noChangeArrowheads="1"/>
          </p:cNvSpPr>
          <p:nvPr>
            <p:custDataLst>
              <p:tags r:id="rId58"/>
            </p:custDataLst>
          </p:nvPr>
        </p:nvSpPr>
        <p:spPr bwMode="auto">
          <a:xfrm>
            <a:off x="454025" y="4098925"/>
            <a:ext cx="1460500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50" b="1" dirty="0">
                <a:sym typeface="Abadi Extra Light" panose="020B0204020104020204" pitchFamily="34" charset="0"/>
              </a:rPr>
              <a:t>SPOR </a:t>
            </a:r>
            <a:r>
              <a:rPr lang="da-DK" sz="1050" b="1" dirty="0" err="1">
                <a:sym typeface="Abadi Extra Light" panose="020B0204020104020204" pitchFamily="34" charset="0"/>
              </a:rPr>
              <a:t>B_PERSONALE</a:t>
            </a:r>
            <a:r>
              <a:rPr lang="da-DK" sz="1050" b="1" dirty="0">
                <a:sym typeface="Abadi Extra Light" panose="020B0204020104020204" pitchFamily="34" charset="0"/>
              </a:rPr>
              <a:t>-</a:t>
            </a:r>
          </a:p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50" b="1" dirty="0">
                <a:sym typeface="Abadi Extra Light" panose="020B0204020104020204" pitchFamily="34" charset="0"/>
              </a:rPr>
              <a:t>LEDELSE</a:t>
            </a:r>
          </a:p>
        </p:txBody>
      </p:sp>
      <p:sp>
        <p:nvSpPr>
          <p:cNvPr id="147" name="Rectangle 378">
            <a:extLst>
              <a:ext uri="{FF2B5EF4-FFF2-40B4-BE49-F238E27FC236}">
                <a16:creationId xmlns:a16="http://schemas.microsoft.com/office/drawing/2014/main" id="{43204EBE-72A9-4EC2-8789-314076757D40}"/>
              </a:ext>
            </a:extLst>
          </p:cNvPr>
          <p:cNvSpPr>
            <a:spLocks noChangeArrowheads="1"/>
          </p:cNvSpPr>
          <p:nvPr>
            <p:custDataLst>
              <p:tags r:id="rId59"/>
            </p:custDataLst>
          </p:nvPr>
        </p:nvSpPr>
        <p:spPr bwMode="auto">
          <a:xfrm>
            <a:off x="454026" y="5443538"/>
            <a:ext cx="11715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sym typeface="+mn-lt"/>
              </a:rPr>
              <a:t>B4 </a:t>
            </a:r>
            <a:r>
              <a:rPr lang="da-DK" altLang="en-US" sz="1000" dirty="0" err="1">
                <a:sym typeface="+mn-lt"/>
              </a:rPr>
              <a:t>Org</a:t>
            </a:r>
            <a:r>
              <a:rPr lang="da-DK" altLang="en-US" sz="1000" dirty="0">
                <a:sym typeface="+mn-lt"/>
              </a:rPr>
              <a:t>. forberedelse</a:t>
            </a:r>
            <a:endParaRPr lang="da-DK" sz="1000" dirty="0">
              <a:sym typeface="+mn-lt"/>
            </a:endParaRPr>
          </a:p>
        </p:txBody>
      </p:sp>
      <p:sp>
        <p:nvSpPr>
          <p:cNvPr id="148" name="Rectangle 90">
            <a:extLst>
              <a:ext uri="{FF2B5EF4-FFF2-40B4-BE49-F238E27FC236}">
                <a16:creationId xmlns:a16="http://schemas.microsoft.com/office/drawing/2014/main" id="{8B23F9D2-6632-40BF-A912-BC78ED6A92F8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151814" y="5443538"/>
            <a:ext cx="12541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200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…</a:t>
            </a:r>
            <a:endParaRPr lang="da-DK" sz="120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 useBgFill="1">
        <p:nvSpPr>
          <p:cNvPr id="170" name="Text Placeholder 2">
            <a:extLst>
              <a:ext uri="{FF2B5EF4-FFF2-40B4-BE49-F238E27FC236}">
                <a16:creationId xmlns:a16="http://schemas.microsoft.com/office/drawing/2014/main" id="{D52020AA-2DCB-4DC9-8031-77B2C2201941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2398713" y="4730750"/>
            <a:ext cx="1009650" cy="1762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4F1178E2-33BD-4117-8505-18DA76365F72}" type="datetime'''''''''''1''''2/''''6''''''/''''''''''''''''''1''''''9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/6/19</a:t>
            </a:fld>
            <a:r>
              <a:rPr lang="da-DK" altLang="en-US" sz="1050" dirty="0">
                <a:sym typeface="+mn-lt"/>
              </a:rPr>
              <a:t> - </a:t>
            </a:r>
            <a:fld id="{B6898316-A0BD-4151-BE7F-61DEA947CB5B}" type="datetime'''''1''''/1''''''''''''''''''''6/''''2''''''0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/16/20</a:t>
            </a:fld>
            <a:endParaRPr lang="da-DK" sz="1050" dirty="0">
              <a:sym typeface="+mn-lt"/>
            </a:endParaRPr>
          </a:p>
        </p:txBody>
      </p:sp>
      <p:sp>
        <p:nvSpPr>
          <p:cNvPr id="100" name="Rectangle 378"/>
          <p:cNvSpPr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454025" y="4592638"/>
            <a:ext cx="1384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>
                <a:sym typeface="+mn-lt"/>
              </a:rPr>
              <a:t>B2 Medarbejdersamtaler</a:t>
            </a:r>
          </a:p>
        </p:txBody>
      </p:sp>
      <p:sp>
        <p:nvSpPr>
          <p:cNvPr id="110" name="Text Placeholder 2">
            <a:extLst>
              <a:ext uri="{FF2B5EF4-FFF2-40B4-BE49-F238E27FC236}">
                <a16:creationId xmlns:a16="http://schemas.microsoft.com/office/drawing/2014/main" id="{C5A5BDD6-2048-4CAA-B1C6-FCA983316BF1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229475" y="4592638"/>
            <a:ext cx="86201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1000" dirty="0">
                <a:sym typeface="+mn-lt"/>
              </a:rPr>
              <a:t>17.1. Samt Slut</a:t>
            </a:r>
          </a:p>
        </p:txBody>
      </p:sp>
      <p:sp>
        <p:nvSpPr>
          <p:cNvPr id="101" name="Rectangle 100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8151813" y="2660650"/>
            <a:ext cx="25400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26" err="1">
                <a:solidFill>
                  <a:schemeClr val="tx1"/>
                </a:solidFill>
                <a:sym typeface="+mn-lt"/>
              </a:rPr>
              <a:t>TBV</a:t>
            </a:r>
            <a:endParaRPr lang="da-DK" sz="1026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190" name="Text Placeholder 2">
            <a:extLst>
              <a:ext uri="{FF2B5EF4-FFF2-40B4-BE49-F238E27FC236}">
                <a16:creationId xmlns:a16="http://schemas.microsoft.com/office/drawing/2014/main" id="{4F367A7B-0C4F-46F3-B1F0-EAB86132972E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3290888" y="5072063"/>
            <a:ext cx="935038" cy="1762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9E6E09B6-3169-4640-A14C-BB61E4412E58}" type="datetime'''1''''''''''''''''''/''''''''1''''''8''''/''2''0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/18/20</a:t>
            </a:fld>
            <a:r>
              <a:rPr lang="da-DK" altLang="en-US" sz="1050" dirty="0">
                <a:sym typeface="+mn-lt"/>
              </a:rPr>
              <a:t> - </a:t>
            </a:r>
            <a:fld id="{96766D25-F415-4E33-86F5-2FF93EFD6649}" type="datetime'''''2''/1''/''''''''''''''''''20''''''''''''''''''''''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/1/20</a:t>
            </a:fld>
            <a:endParaRPr lang="da-DK" sz="1050" dirty="0">
              <a:sym typeface="+mn-lt"/>
            </a:endParaRPr>
          </a:p>
        </p:txBody>
      </p:sp>
      <p:sp>
        <p:nvSpPr>
          <p:cNvPr id="99" name="Rectangle 377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454026" y="2660650"/>
            <a:ext cx="9064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>
                <a:sym typeface="+mn-lt"/>
              </a:rPr>
              <a:t>A2 Chef SDU IT</a:t>
            </a:r>
          </a:p>
        </p:txBody>
      </p:sp>
      <p:sp useBgFill="1">
        <p:nvSpPr>
          <p:cNvPr id="191" name="Text Placeholder 2">
            <a:extLst>
              <a:ext uri="{FF2B5EF4-FFF2-40B4-BE49-F238E27FC236}">
                <a16:creationId xmlns:a16="http://schemas.microsoft.com/office/drawing/2014/main" id="{BD0EEC47-AD5E-4191-BC84-3FBE78011B4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4279900" y="5072063"/>
            <a:ext cx="860425" cy="1762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61D3A0AE-45D4-40B3-9B88-84BF731901A5}" type="datetime'''''''2''''''''''''''/''''''2''/''''2''''0''''''''''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/2/20</a:t>
            </a:fld>
            <a:r>
              <a:rPr lang="da-DK" altLang="en-US" sz="1050" dirty="0">
                <a:sym typeface="+mn-lt"/>
              </a:rPr>
              <a:t> - </a:t>
            </a:r>
            <a:fld id="{40C11470-5A04-411B-88D9-EB98ECDA9201}" type="datetime'2/9/''''''''''''''''''''2''''''''''0''''''''''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/9/20</a:t>
            </a:fld>
            <a:endParaRPr lang="da-DK" sz="1050" dirty="0">
              <a:sym typeface="+mn-lt"/>
            </a:endParaRPr>
          </a:p>
        </p:txBody>
      </p:sp>
      <p:sp>
        <p:nvSpPr>
          <p:cNvPr id="91" name="Rectangle 90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151813" y="4933950"/>
            <a:ext cx="22225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100" err="1">
                <a:solidFill>
                  <a:schemeClr val="tx1"/>
                </a:solidFill>
                <a:latin typeface="Arial Narrow"/>
                <a:sym typeface="Arial Narrow"/>
              </a:rPr>
              <a:t>TBV</a:t>
            </a:r>
            <a:endParaRPr lang="da-DK" sz="1026">
              <a:solidFill>
                <a:schemeClr val="tx1"/>
              </a:solidFill>
              <a:latin typeface="Arial Narrow"/>
              <a:sym typeface="Arial Narrow"/>
            </a:endParaRPr>
          </a:p>
        </p:txBody>
      </p:sp>
      <p:sp>
        <p:nvSpPr>
          <p:cNvPr id="77" name="Rectangle 733"/>
          <p:cNvSpPr>
            <a:spLocks noChangeArrowheads="1"/>
          </p:cNvSpPr>
          <p:nvPr>
            <p:custDataLst>
              <p:tags r:id="rId69"/>
            </p:custDataLst>
          </p:nvPr>
        </p:nvSpPr>
        <p:spPr bwMode="auto">
          <a:xfrm>
            <a:off x="1887538" y="2022475"/>
            <a:ext cx="23971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Uge</a:t>
            </a:r>
          </a:p>
        </p:txBody>
      </p:sp>
      <p:sp>
        <p:nvSpPr>
          <p:cNvPr id="89" name="Rectangle 375"/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454025" y="2022475"/>
            <a:ext cx="11715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ARBEJDSPAKKER</a:t>
            </a:r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92D8E6AA-3AC8-4525-8702-A53B9F1867DE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7413625" y="1835150"/>
            <a:ext cx="492125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26" i="1">
                <a:sym typeface="+mn-lt"/>
              </a:rPr>
              <a:t>Næste</a:t>
            </a:r>
          </a:p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26">
                <a:sym typeface="+mn-lt"/>
              </a:rPr>
              <a:t> </a:t>
            </a:r>
            <a:r>
              <a:rPr lang="da-DK" altLang="en-US" sz="1026" i="1">
                <a:sym typeface="+mn-lt"/>
              </a:rPr>
              <a:t>milepæl</a:t>
            </a:r>
            <a:endParaRPr lang="da-DK" sz="1026" i="1">
              <a:sym typeface="+mn-lt"/>
            </a:endParaRPr>
          </a:p>
        </p:txBody>
      </p:sp>
      <p:sp>
        <p:nvSpPr>
          <p:cNvPr id="81" name="Rectangle 593"/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8151813" y="2022475"/>
            <a:ext cx="5365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i="1">
                <a:sym typeface="+mn-lt"/>
              </a:rPr>
              <a:t>Ansvarlig</a:t>
            </a:r>
          </a:p>
        </p:txBody>
      </p:sp>
      <p:sp useBgFill="1">
        <p:nvSpPr>
          <p:cNvPr id="169" name="Text Placeholder 2">
            <a:extLst>
              <a:ext uri="{FF2B5EF4-FFF2-40B4-BE49-F238E27FC236}">
                <a16:creationId xmlns:a16="http://schemas.microsoft.com/office/drawing/2014/main" id="{375C42CB-C6A8-403A-B232-AE0988EB2910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2984500" y="3140075"/>
            <a:ext cx="1084263" cy="1762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2E3AD17A-E4CB-4EA4-9348-E477E16EB74A}" type="datetime'''''''''''1''''''''''''''2''''/''''1''''''''''''0''/1''''9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/10/19</a:t>
            </a:fld>
            <a:r>
              <a:rPr lang="da-DK" altLang="en-US" sz="1050" dirty="0">
                <a:sym typeface="+mn-lt"/>
              </a:rPr>
              <a:t> - </a:t>
            </a:r>
            <a:fld id="{0F90D368-67B5-487F-A536-7538B56D0BFF}" type="datetime'''2''''/''1''''''''''''''''''''''''3''''/''''''''2''''''0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2/13/20</a:t>
            </a:fld>
            <a:endParaRPr lang="da-DK" sz="1200" dirty="0">
              <a:sym typeface="+mn-lt"/>
            </a:endParaRPr>
          </a:p>
        </p:txBody>
      </p:sp>
      <p:sp>
        <p:nvSpPr>
          <p:cNvPr id="136" name="Rectangle 378">
            <a:extLst>
              <a:ext uri="{FF2B5EF4-FFF2-40B4-BE49-F238E27FC236}">
                <a16:creationId xmlns:a16="http://schemas.microsoft.com/office/drawing/2014/main" id="{C6817353-6922-4CBD-AF39-DDEB2E9F5F6D}"/>
              </a:ext>
            </a:extLst>
          </p:cNvPr>
          <p:cNvSpPr>
            <a:spLocks noChangeArrowheads="1"/>
          </p:cNvSpPr>
          <p:nvPr>
            <p:custDataLst>
              <p:tags r:id="rId74"/>
            </p:custDataLst>
          </p:nvPr>
        </p:nvSpPr>
        <p:spPr bwMode="auto">
          <a:xfrm>
            <a:off x="454025" y="3343275"/>
            <a:ext cx="13843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sym typeface="+mn-lt"/>
              </a:rPr>
              <a:t>A6-7 Ledere SDU Digital</a:t>
            </a:r>
            <a:endParaRPr lang="da-DK" sz="1000" dirty="0">
              <a:sym typeface="+mn-lt"/>
            </a:endParaRPr>
          </a:p>
        </p:txBody>
      </p:sp>
      <p:sp>
        <p:nvSpPr>
          <p:cNvPr id="82" name="Rectangle 732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1727200" y="1819275"/>
            <a:ext cx="400050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Måned</a:t>
            </a:r>
          </a:p>
        </p:txBody>
      </p:sp>
      <p:sp>
        <p:nvSpPr>
          <p:cNvPr id="96" name="Rectangle 376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454026" y="2332038"/>
            <a:ext cx="157162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SPOR A  ANSÆTTELSER</a:t>
            </a:r>
          </a:p>
        </p:txBody>
      </p:sp>
      <p:sp>
        <p:nvSpPr>
          <p:cNvPr id="105" name="Text Placeholder 2">
            <a:extLst>
              <a:ext uri="{FF2B5EF4-FFF2-40B4-BE49-F238E27FC236}">
                <a16:creationId xmlns:a16="http://schemas.microsoft.com/office/drawing/2014/main" id="{C4DE2C20-4466-4F89-8AE2-971E3CA16A83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229475" y="2660650"/>
            <a:ext cx="6318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>
                <a:sym typeface="+mn-lt"/>
              </a:rPr>
              <a:t>12.12 Frist.</a:t>
            </a:r>
            <a:endParaRPr lang="da-DK" sz="1000">
              <a:sym typeface="+mn-lt"/>
            </a:endParaRPr>
          </a:p>
        </p:txBody>
      </p:sp>
      <p:sp>
        <p:nvSpPr>
          <p:cNvPr id="94" name="Rectangle 378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454025" y="3001963"/>
            <a:ext cx="1144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>
                <a:sym typeface="+mn-lt"/>
              </a:rPr>
              <a:t>A3-5 Ledere SDU IT</a:t>
            </a:r>
          </a:p>
        </p:txBody>
      </p:sp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4BD2553C-38F2-4687-876A-0E14FEAC8606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7229475" y="3001963"/>
            <a:ext cx="7842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/>
              <a:t>17.12. Opslag</a:t>
            </a:r>
            <a:endParaRPr lang="da-DK" sz="1000" dirty="0">
              <a:sym typeface="+mn-lt"/>
            </a:endParaRPr>
          </a:p>
        </p:txBody>
      </p:sp>
      <p:sp>
        <p:nvSpPr>
          <p:cNvPr id="95" name="Rectangle 94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8151813" y="3001963"/>
            <a:ext cx="295275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26" err="1">
                <a:solidFill>
                  <a:schemeClr val="tx1"/>
                </a:solidFill>
                <a:sym typeface="+mn-lt"/>
              </a:rPr>
              <a:t>MNC</a:t>
            </a:r>
            <a:endParaRPr lang="da-DK" sz="1026">
              <a:solidFill>
                <a:schemeClr val="tx1"/>
              </a:solidFill>
              <a:sym typeface="+mn-lt"/>
            </a:endParaRPr>
          </a:p>
        </p:txBody>
      </p:sp>
      <p:sp>
        <p:nvSpPr>
          <p:cNvPr id="162" name="Text Placeholder 2">
            <a:extLst>
              <a:ext uri="{FF2B5EF4-FFF2-40B4-BE49-F238E27FC236}">
                <a16:creationId xmlns:a16="http://schemas.microsoft.com/office/drawing/2014/main" id="{3D20390F-CC77-4435-8B54-4B88D77FE9E8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7229475" y="4933950"/>
            <a:ext cx="71437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/>
              <a:t>17.1. Udfald 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00" dirty="0"/>
              <a:t>samtaler</a:t>
            </a:r>
            <a:endParaRPr lang="da-DK" sz="1000" dirty="0">
              <a:sym typeface="+mn-lt"/>
            </a:endParaRPr>
          </a:p>
        </p:txBody>
      </p:sp>
      <p:sp useBgFill="1">
        <p:nvSpPr>
          <p:cNvPr id="167" name="Text Placeholder 2">
            <a:extLst>
              <a:ext uri="{FF2B5EF4-FFF2-40B4-BE49-F238E27FC236}">
                <a16:creationId xmlns:a16="http://schemas.microsoft.com/office/drawing/2014/main" id="{5E42471B-20BB-4EAD-B02E-B3409F147D3F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2273300" y="2798763"/>
            <a:ext cx="1084263" cy="1762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83B1096-34A2-409A-A58A-C56D7366083F}" type="datetime'''''1''2''/''''1''''''''''3''''/''1''''''9''''''''''''''''''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2/13/19</a:t>
            </a:fld>
            <a:r>
              <a:rPr lang="da-DK" altLang="en-US" sz="1050" dirty="0">
                <a:sym typeface="+mn-lt"/>
              </a:rPr>
              <a:t> - </a:t>
            </a:r>
            <a:fld id="{17E06552-0DFF-4FE3-B3CC-AA7786E74BA3}" type="datetime'1/''''''''''1''''''2''/''''''2''''''''''''''''''''''''''''0'">
              <a:rPr lang="da-DK" altLang="en-US" sz="1050" smtClean="0">
                <a:sym typeface="+mn-lt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/12/20</a:t>
            </a:fld>
            <a:endParaRPr lang="da-DK" sz="1200" dirty="0">
              <a:sym typeface="+mn-lt"/>
            </a:endParaRPr>
          </a:p>
        </p:txBody>
      </p:sp>
      <p:sp>
        <p:nvSpPr>
          <p:cNvPr id="92" name="Rectangle 91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151813" y="4592638"/>
            <a:ext cx="4079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26" dirty="0">
                <a:solidFill>
                  <a:schemeClr val="tx1"/>
                </a:solidFill>
                <a:sym typeface="+mn-lt"/>
              </a:rPr>
              <a:t>Ledere</a:t>
            </a:r>
          </a:p>
        </p:txBody>
      </p:sp>
      <p:sp>
        <p:nvSpPr>
          <p:cNvPr id="107" name="Pladsholder til slidenummer 3">
            <a:extLst>
              <a:ext uri="{FF2B5EF4-FFF2-40B4-BE49-F238E27FC236}">
                <a16:creationId xmlns:a16="http://schemas.microsoft.com/office/drawing/2014/main" id="{2D5C3397-CB29-4A6C-97BE-868314CF32C0}"/>
              </a:ext>
            </a:extLst>
          </p:cNvPr>
          <p:cNvSpPr txBox="1">
            <a:spLocks/>
          </p:cNvSpPr>
          <p:nvPr/>
        </p:nvSpPr>
        <p:spPr>
          <a:xfrm>
            <a:off x="73984" y="6398373"/>
            <a:ext cx="180000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fld id="{45D37B1E-C366-494F-A587-962AD9AABC83}" type="slidenum">
              <a:rPr lang="da-DK" sz="800" smtClean="0">
                <a:solidFill>
                  <a:srgbClr val="000000"/>
                </a:solidFill>
                <a:latin typeface="Arial"/>
              </a:rPr>
              <a:pPr algn="ctr">
                <a:defRPr/>
              </a:pPr>
              <a:t>1</a:t>
            </a:fld>
            <a:endParaRPr lang="da-DK" sz="800">
              <a:solidFill>
                <a:srgbClr val="000000"/>
              </a:solidFill>
              <a:latin typeface="Arial"/>
            </a:endParaRPr>
          </a:p>
        </p:txBody>
      </p:sp>
      <p:sp useBgFill="1">
        <p:nvSpPr>
          <p:cNvPr id="165" name="Text Placeholder 2">
            <a:extLst>
              <a:ext uri="{FF2B5EF4-FFF2-40B4-BE49-F238E27FC236}">
                <a16:creationId xmlns:a16="http://schemas.microsoft.com/office/drawing/2014/main" id="{9E1BA09B-4967-407C-A8E4-AC5618FA361B}"/>
              </a:ext>
            </a:extLst>
          </p:cNvPr>
          <p:cNvSpPr>
            <a:spLocks noGrp="1"/>
          </p:cNvSpPr>
          <p:nvPr/>
        </p:nvSpPr>
        <p:spPr bwMode="auto">
          <a:xfrm>
            <a:off x="3573464" y="3506258"/>
            <a:ext cx="927100" cy="15081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>
                <a:sym typeface="+mn-lt"/>
              </a:rPr>
              <a:t>2019.12.18 – 2020.01.31</a:t>
            </a:r>
            <a:endParaRPr lang="da-DK" sz="900" dirty="0">
              <a:sym typeface="+mn-lt"/>
            </a:endParaRPr>
          </a:p>
        </p:txBody>
      </p:sp>
      <p:cxnSp>
        <p:nvCxnSpPr>
          <p:cNvPr id="168" name="Lige forbindelse 167">
            <a:extLst>
              <a:ext uri="{FF2B5EF4-FFF2-40B4-BE49-F238E27FC236}">
                <a16:creationId xmlns:a16="http://schemas.microsoft.com/office/drawing/2014/main" id="{0314C891-5A31-4054-86A2-1C814E36287B}"/>
              </a:ext>
            </a:extLst>
          </p:cNvPr>
          <p:cNvCxnSpPr/>
          <p:nvPr>
            <p:custDataLst>
              <p:tags r:id="rId84"/>
            </p:custDataLst>
          </p:nvPr>
        </p:nvCxnSpPr>
        <p:spPr bwMode="gray">
          <a:xfrm>
            <a:off x="3433763" y="2197894"/>
            <a:ext cx="0" cy="3554412"/>
          </a:xfrm>
          <a:prstGeom prst="line">
            <a:avLst/>
          </a:prstGeom>
          <a:ln w="19050" cap="flat" cmpd="sng" algn="ctr">
            <a:solidFill>
              <a:srgbClr val="808080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Rektangel 191">
            <a:extLst>
              <a:ext uri="{FF2B5EF4-FFF2-40B4-BE49-F238E27FC236}">
                <a16:creationId xmlns:a16="http://schemas.microsoft.com/office/drawing/2014/main" id="{56F53ACD-6B7F-4492-8461-EB062A5B1622}"/>
              </a:ext>
            </a:extLst>
          </p:cNvPr>
          <p:cNvSpPr/>
          <p:nvPr/>
        </p:nvSpPr>
        <p:spPr>
          <a:xfrm>
            <a:off x="2991802" y="6613079"/>
            <a:ext cx="3002599" cy="219521"/>
          </a:xfrm>
          <a:prstGeom prst="rect">
            <a:avLst/>
          </a:prstGeom>
          <a:solidFill>
            <a:srgbClr val="D05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 dirty="0"/>
              <a:t>Forbered til godkendelse i T-ledelse</a:t>
            </a:r>
          </a:p>
        </p:txBody>
      </p:sp>
      <p:sp>
        <p:nvSpPr>
          <p:cNvPr id="193" name="Rektangel 192">
            <a:extLst>
              <a:ext uri="{FF2B5EF4-FFF2-40B4-BE49-F238E27FC236}">
                <a16:creationId xmlns:a16="http://schemas.microsoft.com/office/drawing/2014/main" id="{8F8FE81A-F76F-46DC-A5C1-2ECDFFD6CCA4}"/>
              </a:ext>
            </a:extLst>
          </p:cNvPr>
          <p:cNvSpPr/>
          <p:nvPr/>
        </p:nvSpPr>
        <p:spPr>
          <a:xfrm>
            <a:off x="6096000" y="6601745"/>
            <a:ext cx="3002599" cy="219521"/>
          </a:xfrm>
          <a:prstGeom prst="rect">
            <a:avLst/>
          </a:prstGeom>
          <a:solidFill>
            <a:srgbClr val="DDC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>
                <a:solidFill>
                  <a:schemeClr val="tx1"/>
                </a:solidFill>
              </a:rPr>
              <a:t>Gennemfør</a:t>
            </a:r>
          </a:p>
        </p:txBody>
      </p:sp>
      <p:sp>
        <p:nvSpPr>
          <p:cNvPr id="93" name="Rektangel 92">
            <a:extLst>
              <a:ext uri="{FF2B5EF4-FFF2-40B4-BE49-F238E27FC236}">
                <a16:creationId xmlns:a16="http://schemas.microsoft.com/office/drawing/2014/main" id="{1B1F5988-E691-47B0-A165-BAF87AA9636F}"/>
              </a:ext>
            </a:extLst>
          </p:cNvPr>
          <p:cNvSpPr/>
          <p:nvPr/>
        </p:nvSpPr>
        <p:spPr>
          <a:xfrm>
            <a:off x="7737764" y="59701"/>
            <a:ext cx="1337833" cy="179403"/>
          </a:xfrm>
          <a:prstGeom prst="rect">
            <a:avLst/>
          </a:prstGeom>
          <a:solidFill>
            <a:srgbClr val="FF0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da-DK" sz="900" i="1" dirty="0">
                <a:solidFill>
                  <a:schemeClr val="bg1"/>
                </a:solidFill>
              </a:rPr>
              <a:t>Opdateret 13.1.2020</a:t>
            </a:r>
          </a:p>
        </p:txBody>
      </p:sp>
      <p:sp>
        <p:nvSpPr>
          <p:cNvPr id="102" name="Rektangel 101">
            <a:extLst>
              <a:ext uri="{FF2B5EF4-FFF2-40B4-BE49-F238E27FC236}">
                <a16:creationId xmlns:a16="http://schemas.microsoft.com/office/drawing/2014/main" id="{6BA02A33-B631-45E1-8225-F32F2DCB78EC}"/>
              </a:ext>
            </a:extLst>
          </p:cNvPr>
          <p:cNvSpPr/>
          <p:nvPr/>
        </p:nvSpPr>
        <p:spPr>
          <a:xfrm>
            <a:off x="175104" y="6608763"/>
            <a:ext cx="2746055" cy="219614"/>
          </a:xfrm>
          <a:prstGeom prst="rect">
            <a:avLst/>
          </a:prstGeom>
          <a:solidFill>
            <a:srgbClr val="AEB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 dirty="0"/>
              <a:t>Fokusområde (ikke konkrete aktiviteter)</a:t>
            </a:r>
          </a:p>
        </p:txBody>
      </p:sp>
    </p:spTree>
    <p:extLst>
      <p:ext uri="{BB962C8B-B14F-4D97-AF65-F5344CB8AC3E}">
        <p14:creationId xmlns:p14="http://schemas.microsoft.com/office/powerpoint/2010/main" val="35008824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2960029"/>
              </p:ext>
            </p:extLst>
          </p:nvPr>
        </p:nvGraphicFramePr>
        <p:xfrm>
          <a:off x="1358" y="197515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120" imgW="383" imgH="384" progId="TCLayout.ActiveDocument.1">
                  <p:embed/>
                </p:oleObj>
              </mc:Choice>
              <mc:Fallback>
                <p:oleObj name="think-cell Slide" r:id="rId120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21"/>
                      <a:stretch>
                        <a:fillRect/>
                      </a:stretch>
                    </p:blipFill>
                    <p:spPr>
                      <a:xfrm>
                        <a:off x="1358" y="197515"/>
                        <a:ext cx="1357" cy="13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196156"/>
            <a:ext cx="135748" cy="135748"/>
          </a:xfrm>
          <a:prstGeom prst="rect">
            <a:avLst/>
          </a:prstGeom>
          <a:solidFill>
            <a:srgbClr val="1E2F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da-DK" sz="9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sz="3200" b="1" dirty="0"/>
              <a:t>Spor C1 – Faglige opgav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2</a:t>
            </a:fld>
            <a:endParaRPr lang="da-DK"/>
          </a:p>
        </p:txBody>
      </p:sp>
      <p:sp>
        <p:nvSpPr>
          <p:cNvPr id="20" name="Rectangle 19"/>
          <p:cNvSpPr/>
          <p:nvPr>
            <p:custDataLst>
              <p:tags r:id="rId4"/>
            </p:custDataLst>
          </p:nvPr>
        </p:nvSpPr>
        <p:spPr bwMode="auto">
          <a:xfrm>
            <a:off x="212725" y="2133601"/>
            <a:ext cx="8355013" cy="231775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/>
            <a:endParaRPr lang="en-GB" sz="1539">
              <a:solidFill>
                <a:srgbClr val="FFFFFF"/>
              </a:solidFill>
            </a:endParaRPr>
          </a:p>
        </p:txBody>
      </p:sp>
      <p:sp>
        <p:nvSpPr>
          <p:cNvPr id="132" name="Rectangle 268">
            <a:extLst>
              <a:ext uri="{FF2B5EF4-FFF2-40B4-BE49-F238E27FC236}">
                <a16:creationId xmlns:a16="http://schemas.microsoft.com/office/drawing/2014/main" id="{4D6C303A-967E-4572-997C-76E05809DB07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557463" y="1727200"/>
            <a:ext cx="671513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76782227-3486-4D07-9949-B09027583EC5}" type="datetime'de''''''''''''''''''''''''c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dec</a:t>
            </a:fld>
            <a:endParaRPr lang="da-DK" sz="1026">
              <a:sym typeface="+mn-lt"/>
            </a:endParaRPr>
          </a:p>
        </p:txBody>
      </p:sp>
      <p:sp>
        <p:nvSpPr>
          <p:cNvPr id="133" name="Rectangle 268">
            <a:extLst>
              <a:ext uri="{FF2B5EF4-FFF2-40B4-BE49-F238E27FC236}">
                <a16:creationId xmlns:a16="http://schemas.microsoft.com/office/drawing/2014/main" id="{384D5753-C5D3-45BC-9C93-E321F9FB3CE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228975" y="1727200"/>
            <a:ext cx="1300163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263A5A83-ACF7-4013-A587-3E3E79663D20}" type="datetime'''''j''''''''''''''''''''''''''''''''''a''''''''''''n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jan</a:t>
            </a:fld>
            <a:endParaRPr lang="da-DK" sz="1026">
              <a:sym typeface="+mn-lt"/>
            </a:endParaRPr>
          </a:p>
        </p:txBody>
      </p:sp>
      <p:sp>
        <p:nvSpPr>
          <p:cNvPr id="134" name="Rectangle 268">
            <a:extLst>
              <a:ext uri="{FF2B5EF4-FFF2-40B4-BE49-F238E27FC236}">
                <a16:creationId xmlns:a16="http://schemas.microsoft.com/office/drawing/2014/main" id="{807FC57D-86AB-4892-A090-A33C826870B0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29138" y="1727200"/>
            <a:ext cx="1217613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C1E225F0-E69D-4E7A-8685-820D395D80B4}" type="datetime'f''''''''''''''''''''''''''''''''''''''''e''''b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feb</a:t>
            </a:fld>
            <a:endParaRPr lang="da-DK" sz="1026">
              <a:sym typeface="+mn-lt"/>
            </a:endParaRPr>
          </a:p>
        </p:txBody>
      </p:sp>
      <p:sp>
        <p:nvSpPr>
          <p:cNvPr id="135" name="Rectangle 268">
            <a:extLst>
              <a:ext uri="{FF2B5EF4-FFF2-40B4-BE49-F238E27FC236}">
                <a16:creationId xmlns:a16="http://schemas.microsoft.com/office/drawing/2014/main" id="{00D2CCBF-BDAA-4DD1-A858-32E5DE44AD49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46750" y="1727200"/>
            <a:ext cx="1300163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3A902869-AD27-4F9B-89E8-04B347CBE870}" type="datetime'''''''m''''''''''''a''''''''''''r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mar</a:t>
            </a:fld>
            <a:endParaRPr lang="da-DK" sz="1026">
              <a:sym typeface="+mn-lt"/>
            </a:endParaRPr>
          </a:p>
        </p:txBody>
      </p:sp>
      <p:sp>
        <p:nvSpPr>
          <p:cNvPr id="152" name="Rectangle 268">
            <a:extLst>
              <a:ext uri="{FF2B5EF4-FFF2-40B4-BE49-F238E27FC236}">
                <a16:creationId xmlns:a16="http://schemas.microsoft.com/office/drawing/2014/main" id="{EB95E5E0-91DB-4403-A40B-5D92A8761939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046912" y="1727200"/>
            <a:ext cx="2095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8730A6C-A71F-4D0E-A616-C9BD44E682F8}" type="datetime'''''''''''a''''''''''''''''''p''r''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apr</a:t>
            </a:fld>
            <a:endParaRPr lang="da-DK" sz="1026">
              <a:sym typeface="+mn-lt"/>
            </a:endParaRPr>
          </a:p>
        </p:txBody>
      </p:sp>
      <p:sp>
        <p:nvSpPr>
          <p:cNvPr id="116" name="Rectangle 268">
            <a:extLst>
              <a:ext uri="{FF2B5EF4-FFF2-40B4-BE49-F238E27FC236}">
                <a16:creationId xmlns:a16="http://schemas.microsoft.com/office/drawing/2014/main" id="{1BD546F3-750B-4855-8EB0-3A20A6EB0C0A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557463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EA5EF2C4-157C-46EF-8037-548577BCC40F}" type="datetime'''''''''''''5''1''''''''''''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51</a:t>
            </a:fld>
            <a:endParaRPr lang="da-DK" sz="1026">
              <a:sym typeface="+mn-lt"/>
            </a:endParaRPr>
          </a:p>
        </p:txBody>
      </p:sp>
      <p:sp>
        <p:nvSpPr>
          <p:cNvPr id="117" name="Rectangle 268">
            <a:extLst>
              <a:ext uri="{FF2B5EF4-FFF2-40B4-BE49-F238E27FC236}">
                <a16:creationId xmlns:a16="http://schemas.microsoft.com/office/drawing/2014/main" id="{8D280FB1-AEB6-4844-9BF3-9871CA615256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851150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5802E542-5AE6-4233-B3C4-82E3FF91309B}" type="datetime'''''''''''''''''5''''2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52</a:t>
            </a:fld>
            <a:endParaRPr lang="da-DK" sz="1026">
              <a:sym typeface="+mn-lt"/>
            </a:endParaRPr>
          </a:p>
        </p:txBody>
      </p:sp>
      <p:sp>
        <p:nvSpPr>
          <p:cNvPr id="118" name="Rectangle 268">
            <a:extLst>
              <a:ext uri="{FF2B5EF4-FFF2-40B4-BE49-F238E27FC236}">
                <a16:creationId xmlns:a16="http://schemas.microsoft.com/office/drawing/2014/main" id="{DB0C6B44-6DC5-401D-9A99-427E791EE163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3144838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C7DC87CE-A3D5-413E-9F10-A96224FC96F2}" type="datetime'0''''1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1</a:t>
            </a:fld>
            <a:endParaRPr lang="da-DK" sz="1026">
              <a:sym typeface="+mn-lt"/>
            </a:endParaRPr>
          </a:p>
        </p:txBody>
      </p:sp>
      <p:sp>
        <p:nvSpPr>
          <p:cNvPr id="119" name="Rectangle 268">
            <a:extLst>
              <a:ext uri="{FF2B5EF4-FFF2-40B4-BE49-F238E27FC236}">
                <a16:creationId xmlns:a16="http://schemas.microsoft.com/office/drawing/2014/main" id="{09DC5D3C-0B82-4497-8234-E92B3F24A8E4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438525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F4CDB75B-0D82-4C37-9C49-DB1A0F23217B}" type="datetime'''''''''''''''''''''02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2</a:t>
            </a:fld>
            <a:endParaRPr lang="da-DK" sz="1026">
              <a:sym typeface="+mn-lt"/>
            </a:endParaRPr>
          </a:p>
        </p:txBody>
      </p:sp>
      <p:sp>
        <p:nvSpPr>
          <p:cNvPr id="120" name="Rectangle 268">
            <a:extLst>
              <a:ext uri="{FF2B5EF4-FFF2-40B4-BE49-F238E27FC236}">
                <a16:creationId xmlns:a16="http://schemas.microsoft.com/office/drawing/2014/main" id="{872E5331-EB1B-4F30-9A7A-748DF227904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32213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43D3ECC3-A309-476E-9CFB-7A1B87246281}" type="datetime'''''''''''''''''''''''''''''''''0''3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3</a:t>
            </a:fld>
            <a:endParaRPr lang="da-DK" sz="1026">
              <a:sym typeface="+mn-lt"/>
            </a:endParaRPr>
          </a:p>
        </p:txBody>
      </p:sp>
      <p:sp>
        <p:nvSpPr>
          <p:cNvPr id="121" name="Rectangle 268">
            <a:extLst>
              <a:ext uri="{FF2B5EF4-FFF2-40B4-BE49-F238E27FC236}">
                <a16:creationId xmlns:a16="http://schemas.microsoft.com/office/drawing/2014/main" id="{891E445C-029F-45E1-82A6-A10085E8BC88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025900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DD8204AE-A4E0-407C-8882-0D05E669300C}" type="datetime'''''''''''''''''''''''0''''''''''''''''4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4</a:t>
            </a:fld>
            <a:endParaRPr lang="da-DK" sz="1026">
              <a:sym typeface="+mn-lt"/>
            </a:endParaRPr>
          </a:p>
        </p:txBody>
      </p:sp>
      <p:sp>
        <p:nvSpPr>
          <p:cNvPr id="122" name="Rectangle 268">
            <a:extLst>
              <a:ext uri="{FF2B5EF4-FFF2-40B4-BE49-F238E27FC236}">
                <a16:creationId xmlns:a16="http://schemas.microsoft.com/office/drawing/2014/main" id="{44F91B13-F906-4CDD-AEC6-ED9D1F5A87D9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319588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8C65F281-383E-45BA-825B-623F0B6906F2}" type="datetime'''''''''''''''0''''''''''''''5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5</a:t>
            </a:fld>
            <a:endParaRPr lang="da-DK" sz="1026">
              <a:sym typeface="+mn-lt"/>
            </a:endParaRPr>
          </a:p>
        </p:txBody>
      </p:sp>
      <p:sp>
        <p:nvSpPr>
          <p:cNvPr id="123" name="Rectangle 268">
            <a:extLst>
              <a:ext uri="{FF2B5EF4-FFF2-40B4-BE49-F238E27FC236}">
                <a16:creationId xmlns:a16="http://schemas.microsoft.com/office/drawing/2014/main" id="{AEAA24AD-DE0E-4006-A369-648877CA6875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613275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E4F78605-8009-40DB-8EEB-E68F0C078420}" type="datetime'''''''0''''''''6''''''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6</a:t>
            </a:fld>
            <a:endParaRPr lang="da-DK" sz="1026">
              <a:sym typeface="+mn-lt"/>
            </a:endParaRPr>
          </a:p>
        </p:txBody>
      </p:sp>
      <p:sp>
        <p:nvSpPr>
          <p:cNvPr id="124" name="Rectangle 268">
            <a:extLst>
              <a:ext uri="{FF2B5EF4-FFF2-40B4-BE49-F238E27FC236}">
                <a16:creationId xmlns:a16="http://schemas.microsoft.com/office/drawing/2014/main" id="{C3B6823F-AD52-41B1-A67C-2CAFEEFE206A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906963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19ACF23A-0F29-4C1F-A551-F69DF1B5AB49}" type="datetime'''''''''''''''''''''''''''''''0''''''7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7</a:t>
            </a:fld>
            <a:endParaRPr lang="da-DK" sz="1026">
              <a:sym typeface="+mn-lt"/>
            </a:endParaRPr>
          </a:p>
        </p:txBody>
      </p:sp>
      <p:sp>
        <p:nvSpPr>
          <p:cNvPr id="125" name="Rectangle 268">
            <a:extLst>
              <a:ext uri="{FF2B5EF4-FFF2-40B4-BE49-F238E27FC236}">
                <a16:creationId xmlns:a16="http://schemas.microsoft.com/office/drawing/2014/main" id="{9F9CA43E-B44C-42B9-ADBA-4D65CDCCB54B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5200650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755C8447-D31D-4EE3-AF18-DF16325BF3FA}" type="datetime'''''''''''''''''''''''''08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8</a:t>
            </a:fld>
            <a:endParaRPr lang="da-DK" sz="1026">
              <a:sym typeface="+mn-lt"/>
            </a:endParaRPr>
          </a:p>
        </p:txBody>
      </p:sp>
      <p:sp>
        <p:nvSpPr>
          <p:cNvPr id="126" name="Rectangle 268">
            <a:extLst>
              <a:ext uri="{FF2B5EF4-FFF2-40B4-BE49-F238E27FC236}">
                <a16:creationId xmlns:a16="http://schemas.microsoft.com/office/drawing/2014/main" id="{E1A03496-A84C-46D0-A68D-4877FBB609F4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494338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16474CE9-9EF1-48ED-B984-7274FA5C6AB0}" type="datetime'''''''''''''''''0''''''''''''''''''''''''''''''''''''''9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9</a:t>
            </a:fld>
            <a:endParaRPr lang="da-DK" sz="1026">
              <a:sym typeface="+mn-lt"/>
            </a:endParaRPr>
          </a:p>
        </p:txBody>
      </p:sp>
      <p:sp>
        <p:nvSpPr>
          <p:cNvPr id="127" name="Rectangle 268">
            <a:extLst>
              <a:ext uri="{FF2B5EF4-FFF2-40B4-BE49-F238E27FC236}">
                <a16:creationId xmlns:a16="http://schemas.microsoft.com/office/drawing/2014/main" id="{614144C4-CE82-46E6-9A73-3B4BE89475B5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788025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0F7780E-DD2E-406D-86C4-2FC02537BC6F}" type="datetime'''''''''''''1''''''''0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0</a:t>
            </a:fld>
            <a:endParaRPr lang="da-DK" sz="1026">
              <a:sym typeface="+mn-lt"/>
            </a:endParaRPr>
          </a:p>
        </p:txBody>
      </p:sp>
      <p:sp>
        <p:nvSpPr>
          <p:cNvPr id="128" name="Rectangle 268">
            <a:extLst>
              <a:ext uri="{FF2B5EF4-FFF2-40B4-BE49-F238E27FC236}">
                <a16:creationId xmlns:a16="http://schemas.microsoft.com/office/drawing/2014/main" id="{A2A43099-E219-4EA5-963E-77044464EB3E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6081713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9307C482-A2B0-4820-ADE9-9A5D3BA1D1EC}" type="datetime'''''''''''1''''''''''''''1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1</a:t>
            </a:fld>
            <a:endParaRPr lang="da-DK" sz="1026">
              <a:sym typeface="+mn-lt"/>
            </a:endParaRPr>
          </a:p>
        </p:txBody>
      </p:sp>
      <p:sp>
        <p:nvSpPr>
          <p:cNvPr id="129" name="Rectangle 268">
            <a:extLst>
              <a:ext uri="{FF2B5EF4-FFF2-40B4-BE49-F238E27FC236}">
                <a16:creationId xmlns:a16="http://schemas.microsoft.com/office/drawing/2014/main" id="{F8E6DE9C-A2D7-498D-813A-9F8ECED654A2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375400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0DFC60D4-3CD8-42F1-B905-4D72C642C73E}" type="datetime'''''''''''''''''''''1''''''''''''''''''''''''2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2</a:t>
            </a:fld>
            <a:endParaRPr lang="da-DK" sz="1026">
              <a:sym typeface="+mn-lt"/>
            </a:endParaRPr>
          </a:p>
        </p:txBody>
      </p:sp>
      <p:sp>
        <p:nvSpPr>
          <p:cNvPr id="130" name="Rectangle 268">
            <a:extLst>
              <a:ext uri="{FF2B5EF4-FFF2-40B4-BE49-F238E27FC236}">
                <a16:creationId xmlns:a16="http://schemas.microsoft.com/office/drawing/2014/main" id="{FD8AC81C-26B8-44FB-AC32-C1F94D684227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669088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840814CE-9CE0-49E4-8AB6-FF6ED46648A1}" type="datetime'''''1''''''''''''''''''''''''''''''''''''''''3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3</a:t>
            </a:fld>
            <a:endParaRPr lang="da-DK" sz="1026">
              <a:sym typeface="+mn-lt"/>
            </a:endParaRPr>
          </a:p>
        </p:txBody>
      </p:sp>
      <p:sp>
        <p:nvSpPr>
          <p:cNvPr id="131" name="Rectangle 268">
            <a:extLst>
              <a:ext uri="{FF2B5EF4-FFF2-40B4-BE49-F238E27FC236}">
                <a16:creationId xmlns:a16="http://schemas.microsoft.com/office/drawing/2014/main" id="{A6063584-9F41-4AA0-A8A7-8A858CBCEED9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962775" y="1930400"/>
            <a:ext cx="2936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23F54E5D-AE5A-4961-9F4C-696922A80C07}" type="datetime'''''''''''''1''''''''''''4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4</a:t>
            </a:fld>
            <a:endParaRPr lang="da-DK" sz="1026">
              <a:sym typeface="+mn-lt"/>
            </a:endParaRPr>
          </a:p>
        </p:txBody>
      </p:sp>
      <p:cxnSp>
        <p:nvCxnSpPr>
          <p:cNvPr id="66" name="Lige forbindelse 65">
            <a:extLst>
              <a:ext uri="{FF2B5EF4-FFF2-40B4-BE49-F238E27FC236}">
                <a16:creationId xmlns:a16="http://schemas.microsoft.com/office/drawing/2014/main" id="{02CCEE96-6215-44F1-96A7-26EBD974158F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7046913" y="2133600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Lige forbindelse 43">
            <a:extLst>
              <a:ext uri="{FF2B5EF4-FFF2-40B4-BE49-F238E27FC236}">
                <a16:creationId xmlns:a16="http://schemas.microsoft.com/office/drawing/2014/main" id="{E4ED6C06-4A0B-451F-A9AE-2E25F46472B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3228975" y="2133600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Lige forbindelse 44">
            <a:extLst>
              <a:ext uri="{FF2B5EF4-FFF2-40B4-BE49-F238E27FC236}">
                <a16:creationId xmlns:a16="http://schemas.microsoft.com/office/drawing/2014/main" id="{5C0F9E2D-EDA1-48C3-B874-D4E4A7958D77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4529138" y="2133600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Line 410"/>
          <p:cNvSpPr>
            <a:spLocks noChangeShapeType="1"/>
          </p:cNvSpPr>
          <p:nvPr>
            <p:custDataLst>
              <p:tags r:id="rId29"/>
            </p:custDataLst>
          </p:nvPr>
        </p:nvSpPr>
        <p:spPr bwMode="auto">
          <a:xfrm>
            <a:off x="8567738" y="2133600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cxnSp>
        <p:nvCxnSpPr>
          <p:cNvPr id="46" name="Lige forbindelse 45">
            <a:extLst>
              <a:ext uri="{FF2B5EF4-FFF2-40B4-BE49-F238E27FC236}">
                <a16:creationId xmlns:a16="http://schemas.microsoft.com/office/drawing/2014/main" id="{001F2545-30E6-41BE-AE25-D6A232ED25F4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5746750" y="2133600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ine 594"/>
          <p:cNvSpPr>
            <a:spLocks noChangeShapeType="1"/>
          </p:cNvSpPr>
          <p:nvPr>
            <p:custDataLst>
              <p:tags r:id="rId31"/>
            </p:custDataLst>
          </p:nvPr>
        </p:nvSpPr>
        <p:spPr bwMode="auto">
          <a:xfrm>
            <a:off x="7256463" y="2133600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2" name="Line 406"/>
          <p:cNvSpPr>
            <a:spLocks noChangeShapeType="1"/>
          </p:cNvSpPr>
          <p:nvPr>
            <p:custDataLst>
              <p:tags r:id="rId32"/>
            </p:custDataLst>
          </p:nvPr>
        </p:nvSpPr>
        <p:spPr bwMode="auto">
          <a:xfrm>
            <a:off x="2557463" y="2133600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0" name="Line 409"/>
          <p:cNvSpPr>
            <a:spLocks noChangeShapeType="1"/>
          </p:cNvSpPr>
          <p:nvPr>
            <p:custDataLst>
              <p:tags r:id="rId33"/>
            </p:custDataLst>
          </p:nvPr>
        </p:nvSpPr>
        <p:spPr bwMode="auto">
          <a:xfrm>
            <a:off x="212725" y="2133600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7" name="Line 408"/>
          <p:cNvSpPr>
            <a:spLocks noChangeShapeType="1"/>
          </p:cNvSpPr>
          <p:nvPr>
            <p:custDataLst>
              <p:tags r:id="rId34"/>
            </p:custDataLst>
          </p:nvPr>
        </p:nvSpPr>
        <p:spPr bwMode="auto">
          <a:xfrm>
            <a:off x="212725" y="5688013"/>
            <a:ext cx="8355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9" name="Line 407"/>
          <p:cNvSpPr>
            <a:spLocks noChangeShapeType="1"/>
          </p:cNvSpPr>
          <p:nvPr>
            <p:custDataLst>
              <p:tags r:id="rId35"/>
            </p:custDataLst>
          </p:nvPr>
        </p:nvSpPr>
        <p:spPr bwMode="auto">
          <a:xfrm>
            <a:off x="212725" y="2133600"/>
            <a:ext cx="8355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15" name="Pil: højre 14">
            <a:extLst>
              <a:ext uri="{FF2B5EF4-FFF2-40B4-BE49-F238E27FC236}">
                <a16:creationId xmlns:a16="http://schemas.microsoft.com/office/drawing/2014/main" id="{ECC47757-4F5E-4D7E-89CE-067262D783C3}"/>
              </a:ext>
            </a:extLst>
          </p:cNvPr>
          <p:cNvSpPr/>
          <p:nvPr>
            <p:custDataLst>
              <p:tags r:id="rId36"/>
            </p:custDataLst>
          </p:nvPr>
        </p:nvSpPr>
        <p:spPr bwMode="gray">
          <a:xfrm>
            <a:off x="6249988" y="4268788"/>
            <a:ext cx="1108075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3" name="Rektangel 62">
            <a:extLst>
              <a:ext uri="{FF2B5EF4-FFF2-40B4-BE49-F238E27FC236}">
                <a16:creationId xmlns:a16="http://schemas.microsoft.com/office/drawing/2014/main" id="{F858747E-E424-4671-B404-7CC6D6B539FD}"/>
              </a:ext>
            </a:extLst>
          </p:cNvPr>
          <p:cNvSpPr/>
          <p:nvPr>
            <p:custDataLst>
              <p:tags r:id="rId37"/>
            </p:custDataLst>
          </p:nvPr>
        </p:nvSpPr>
        <p:spPr bwMode="gray">
          <a:xfrm>
            <a:off x="5578474" y="2862263"/>
            <a:ext cx="628650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9" name="Rektangel 48">
            <a:extLst>
              <a:ext uri="{FF2B5EF4-FFF2-40B4-BE49-F238E27FC236}">
                <a16:creationId xmlns:a16="http://schemas.microsoft.com/office/drawing/2014/main" id="{8320E8B0-DF24-4734-9DBA-01E4FC8D7915}"/>
              </a:ext>
            </a:extLst>
          </p:cNvPr>
          <p:cNvSpPr/>
          <p:nvPr>
            <p:custDataLst>
              <p:tags r:id="rId38"/>
            </p:custDataLst>
          </p:nvPr>
        </p:nvSpPr>
        <p:spPr bwMode="gray">
          <a:xfrm>
            <a:off x="5746749" y="4308475"/>
            <a:ext cx="503238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60" name="Rektangel 59">
            <a:extLst>
              <a:ext uri="{FF2B5EF4-FFF2-40B4-BE49-F238E27FC236}">
                <a16:creationId xmlns:a16="http://schemas.microsoft.com/office/drawing/2014/main" id="{C9BA51E8-7F0F-41AE-9E96-FF6854F873B5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3857625" y="2862263"/>
            <a:ext cx="671513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437EB802-E143-4B92-A5AE-F00C1CE91EA7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2571750" y="2428875"/>
            <a:ext cx="4670425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05477781-2A6A-445C-BDAE-BDEEEE8C086A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4067175" y="4522788"/>
            <a:ext cx="1930400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7" name="Pil: højre 26">
            <a:extLst>
              <a:ext uri="{FF2B5EF4-FFF2-40B4-BE49-F238E27FC236}">
                <a16:creationId xmlns:a16="http://schemas.microsoft.com/office/drawing/2014/main" id="{637E0CD5-DA65-49DD-B05E-DB6212179979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6249988" y="4056063"/>
            <a:ext cx="1108075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0EAC572D-2FF3-466B-BE0A-1C4A829E6125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3479800" y="4522788"/>
            <a:ext cx="587375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5" name="Rektangel 54">
            <a:extLst>
              <a:ext uri="{FF2B5EF4-FFF2-40B4-BE49-F238E27FC236}">
                <a16:creationId xmlns:a16="http://schemas.microsoft.com/office/drawing/2014/main" id="{624E7EBE-04A9-4130-B9CF-6072C0043EDA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4067175" y="5400675"/>
            <a:ext cx="1679575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1" name="Rektangel 40">
            <a:extLst>
              <a:ext uri="{FF2B5EF4-FFF2-40B4-BE49-F238E27FC236}">
                <a16:creationId xmlns:a16="http://schemas.microsoft.com/office/drawing/2014/main" id="{0048659E-A66A-4338-B627-178C225E39EB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4067175" y="5186363"/>
            <a:ext cx="1679575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1" name="Rektangel 70">
            <a:extLst>
              <a:ext uri="{FF2B5EF4-FFF2-40B4-BE49-F238E27FC236}">
                <a16:creationId xmlns:a16="http://schemas.microsoft.com/office/drawing/2014/main" id="{C4274CB8-DA43-4532-82E8-6399FADB86C5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5284788" y="3878263"/>
            <a:ext cx="1425575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4" name="Pil: højre 13">
            <a:extLst>
              <a:ext uri="{FF2B5EF4-FFF2-40B4-BE49-F238E27FC236}">
                <a16:creationId xmlns:a16="http://schemas.microsoft.com/office/drawing/2014/main" id="{88A256BB-E9C1-4C43-AC03-F54BB44C856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5872162" y="3255963"/>
            <a:ext cx="1485900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1C534132-98BA-4604-A12E-CCC8D9AD0D94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3438525" y="4965700"/>
            <a:ext cx="2895600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016D9C97-5F02-415F-8393-32C75C3C54F9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3732213" y="3660775"/>
            <a:ext cx="2055813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5" name="Rektangel 64">
            <a:extLst>
              <a:ext uri="{FF2B5EF4-FFF2-40B4-BE49-F238E27FC236}">
                <a16:creationId xmlns:a16="http://schemas.microsoft.com/office/drawing/2014/main" id="{614E1E0F-6283-49AE-A737-3D91553FCDAE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3228975" y="3078163"/>
            <a:ext cx="3986213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06F1F800-7C1C-467C-B67D-8A98423B3754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3648075" y="4751388"/>
            <a:ext cx="3567113" cy="79375"/>
          </a:xfrm>
          <a:prstGeom prst="rect">
            <a:avLst/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0" name="Pil: venstre 9">
            <a:extLst>
              <a:ext uri="{FF2B5EF4-FFF2-40B4-BE49-F238E27FC236}">
                <a16:creationId xmlns:a16="http://schemas.microsoft.com/office/drawing/2014/main" id="{DE815B16-FAF7-4556-BD98-BB13D4446621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2455863" y="4926013"/>
            <a:ext cx="269875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2459F44E-0DD2-4A69-A207-6BCE94F4A90F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3270250" y="5186363"/>
            <a:ext cx="796925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3" name="Rektangel 52">
            <a:extLst>
              <a:ext uri="{FF2B5EF4-FFF2-40B4-BE49-F238E27FC236}">
                <a16:creationId xmlns:a16="http://schemas.microsoft.com/office/drawing/2014/main" id="{7CD61F92-1D89-4C1F-B3E6-63CECD1A49D4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3270250" y="5400675"/>
            <a:ext cx="796925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2" name="Pil: venstre 11">
            <a:extLst>
              <a:ext uri="{FF2B5EF4-FFF2-40B4-BE49-F238E27FC236}">
                <a16:creationId xmlns:a16="http://schemas.microsoft.com/office/drawing/2014/main" id="{80490EA6-B0A4-4A83-9661-7EE4891FE064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2455863" y="3255963"/>
            <a:ext cx="1108075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67" name="Rektangel 66">
            <a:extLst>
              <a:ext uri="{FF2B5EF4-FFF2-40B4-BE49-F238E27FC236}">
                <a16:creationId xmlns:a16="http://schemas.microsoft.com/office/drawing/2014/main" id="{C10E08C8-44EE-402E-98B8-6F75AC656AA2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2571750" y="3660775"/>
            <a:ext cx="1160463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2" name="Rektangel 71">
            <a:extLst>
              <a:ext uri="{FF2B5EF4-FFF2-40B4-BE49-F238E27FC236}">
                <a16:creationId xmlns:a16="http://schemas.microsoft.com/office/drawing/2014/main" id="{F8932D32-42D9-4B32-B7FB-859F55320B9A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3606799" y="3878263"/>
            <a:ext cx="209550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1DF96316-A322-43C4-AE34-83DF19DF322D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5746749" y="4095750"/>
            <a:ext cx="503238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6" name="Pil: venstre 25">
            <a:extLst>
              <a:ext uri="{FF2B5EF4-FFF2-40B4-BE49-F238E27FC236}">
                <a16:creationId xmlns:a16="http://schemas.microsoft.com/office/drawing/2014/main" id="{F30581B6-83FF-4576-8090-DAD027B9C80D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2455862" y="2605088"/>
            <a:ext cx="3919538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2" name="Rombe 61">
            <a:extLst>
              <a:ext uri="{FF2B5EF4-FFF2-40B4-BE49-F238E27FC236}">
                <a16:creationId xmlns:a16="http://schemas.microsoft.com/office/drawing/2014/main" id="{882D5E6A-66D8-4D3B-93F6-9F63E91BE981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149975" y="28448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1" name="Rombe 60">
            <a:extLst>
              <a:ext uri="{FF2B5EF4-FFF2-40B4-BE49-F238E27FC236}">
                <a16:creationId xmlns:a16="http://schemas.microsoft.com/office/drawing/2014/main" id="{EC0FD2FD-2C41-4A4B-A0CE-E3CE835E186E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4471988" y="28448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34" name="Rombe 33">
            <a:extLst>
              <a:ext uri="{FF2B5EF4-FFF2-40B4-BE49-F238E27FC236}">
                <a16:creationId xmlns:a16="http://schemas.microsoft.com/office/drawing/2014/main" id="{41670639-DA45-452B-81F4-215507D6065B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5940425" y="450532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0" name="Rombe 69">
            <a:extLst>
              <a:ext uri="{FF2B5EF4-FFF2-40B4-BE49-F238E27FC236}">
                <a16:creationId xmlns:a16="http://schemas.microsoft.com/office/drawing/2014/main" id="{528543DF-5CEE-4ACB-B05E-19FFEFD90461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5730875" y="36433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3" name="Rombe 42">
            <a:extLst>
              <a:ext uri="{FF2B5EF4-FFF2-40B4-BE49-F238E27FC236}">
                <a16:creationId xmlns:a16="http://schemas.microsoft.com/office/drawing/2014/main" id="{4BCE34D6-F2C4-4225-9C7E-83708121B738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6276975" y="49482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2" name="Rombe 41">
            <a:extLst>
              <a:ext uri="{FF2B5EF4-FFF2-40B4-BE49-F238E27FC236}">
                <a16:creationId xmlns:a16="http://schemas.microsoft.com/office/drawing/2014/main" id="{259A5761-BDE6-424D-9411-1BF5F9202FD1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5689600" y="51689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4" name="Rombe 73">
            <a:extLst>
              <a:ext uri="{FF2B5EF4-FFF2-40B4-BE49-F238E27FC236}">
                <a16:creationId xmlns:a16="http://schemas.microsoft.com/office/drawing/2014/main" id="{589C716B-A219-4C7E-B5B3-0DACD1692D76}"/>
              </a:ext>
            </a:extLst>
          </p:cNvPr>
          <p:cNvSpPr/>
          <p:nvPr>
            <p:custDataLst>
              <p:tags r:id="rId66"/>
            </p:custDataLst>
          </p:nvPr>
        </p:nvSpPr>
        <p:spPr bwMode="gray">
          <a:xfrm>
            <a:off x="6653213" y="38608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6" name="Rombe 55">
            <a:extLst>
              <a:ext uri="{FF2B5EF4-FFF2-40B4-BE49-F238E27FC236}">
                <a16:creationId xmlns:a16="http://schemas.microsoft.com/office/drawing/2014/main" id="{59964E79-A7E4-454A-A25A-CE035354A3E1}"/>
              </a:ext>
            </a:extLst>
          </p:cNvPr>
          <p:cNvSpPr/>
          <p:nvPr>
            <p:custDataLst>
              <p:tags r:id="rId67"/>
            </p:custDataLst>
          </p:nvPr>
        </p:nvSpPr>
        <p:spPr bwMode="gray">
          <a:xfrm>
            <a:off x="5689600" y="53832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4" name="Rombe 63">
            <a:extLst>
              <a:ext uri="{FF2B5EF4-FFF2-40B4-BE49-F238E27FC236}">
                <a16:creationId xmlns:a16="http://schemas.microsoft.com/office/drawing/2014/main" id="{159B65AC-FDB8-4AFB-AF88-1BE3EA90A45A}"/>
              </a:ext>
            </a:extLst>
          </p:cNvPr>
          <p:cNvSpPr/>
          <p:nvPr>
            <p:custDataLst>
              <p:tags r:id="rId68"/>
            </p:custDataLst>
          </p:nvPr>
        </p:nvSpPr>
        <p:spPr bwMode="gray">
          <a:xfrm>
            <a:off x="6192838" y="42910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3" name="Rombe 72">
            <a:extLst>
              <a:ext uri="{FF2B5EF4-FFF2-40B4-BE49-F238E27FC236}">
                <a16:creationId xmlns:a16="http://schemas.microsoft.com/office/drawing/2014/main" id="{FA427C8E-DB04-4D9D-8CC9-48A1A8BDD0D4}"/>
              </a:ext>
            </a:extLst>
          </p:cNvPr>
          <p:cNvSpPr/>
          <p:nvPr>
            <p:custDataLst>
              <p:tags r:id="rId69"/>
            </p:custDataLst>
          </p:nvPr>
        </p:nvSpPr>
        <p:spPr bwMode="gray">
          <a:xfrm>
            <a:off x="3759200" y="38608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32" name="Rombe 31">
            <a:extLst>
              <a:ext uri="{FF2B5EF4-FFF2-40B4-BE49-F238E27FC236}">
                <a16:creationId xmlns:a16="http://schemas.microsoft.com/office/drawing/2014/main" id="{8FE76C99-DF6D-458E-A2FA-9D204EB3A43F}"/>
              </a:ext>
            </a:extLst>
          </p:cNvPr>
          <p:cNvSpPr/>
          <p:nvPr>
            <p:custDataLst>
              <p:tags r:id="rId70"/>
            </p:custDataLst>
          </p:nvPr>
        </p:nvSpPr>
        <p:spPr bwMode="gray">
          <a:xfrm>
            <a:off x="4010025" y="450532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4" name="Rombe 23">
            <a:extLst>
              <a:ext uri="{FF2B5EF4-FFF2-40B4-BE49-F238E27FC236}">
                <a16:creationId xmlns:a16="http://schemas.microsoft.com/office/drawing/2014/main" id="{E0AAF35C-BDAD-4A73-A9DA-DE7A8B25886A}"/>
              </a:ext>
            </a:extLst>
          </p:cNvPr>
          <p:cNvSpPr/>
          <p:nvPr>
            <p:custDataLst>
              <p:tags r:id="rId71"/>
            </p:custDataLst>
          </p:nvPr>
        </p:nvSpPr>
        <p:spPr bwMode="gray">
          <a:xfrm>
            <a:off x="2668588" y="494823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8" name="Rombe 67">
            <a:extLst>
              <a:ext uri="{FF2B5EF4-FFF2-40B4-BE49-F238E27FC236}">
                <a16:creationId xmlns:a16="http://schemas.microsoft.com/office/drawing/2014/main" id="{A2445A95-21AE-4D70-9EDD-CCBFD0AE8D60}"/>
              </a:ext>
            </a:extLst>
          </p:cNvPr>
          <p:cNvSpPr/>
          <p:nvPr>
            <p:custDataLst>
              <p:tags r:id="rId72"/>
            </p:custDataLst>
          </p:nvPr>
        </p:nvSpPr>
        <p:spPr bwMode="gray">
          <a:xfrm>
            <a:off x="3675063" y="36433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0" name="Rombe 39">
            <a:extLst>
              <a:ext uri="{FF2B5EF4-FFF2-40B4-BE49-F238E27FC236}">
                <a16:creationId xmlns:a16="http://schemas.microsoft.com/office/drawing/2014/main" id="{310B3C0B-88DA-4E60-AB11-F460843DE37C}"/>
              </a:ext>
            </a:extLst>
          </p:cNvPr>
          <p:cNvSpPr/>
          <p:nvPr>
            <p:custDataLst>
              <p:tags r:id="rId73"/>
            </p:custDataLst>
          </p:nvPr>
        </p:nvSpPr>
        <p:spPr bwMode="gray">
          <a:xfrm>
            <a:off x="4010025" y="51689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4" name="Rombe 53">
            <a:extLst>
              <a:ext uri="{FF2B5EF4-FFF2-40B4-BE49-F238E27FC236}">
                <a16:creationId xmlns:a16="http://schemas.microsoft.com/office/drawing/2014/main" id="{1FA5D76C-8D34-42EB-89F7-DDB4CD5E4AD7}"/>
              </a:ext>
            </a:extLst>
          </p:cNvPr>
          <p:cNvSpPr/>
          <p:nvPr>
            <p:custDataLst>
              <p:tags r:id="rId74"/>
            </p:custDataLst>
          </p:nvPr>
        </p:nvSpPr>
        <p:spPr bwMode="gray">
          <a:xfrm>
            <a:off x="4010025" y="53832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3" name="Rombe 12">
            <a:extLst>
              <a:ext uri="{FF2B5EF4-FFF2-40B4-BE49-F238E27FC236}">
                <a16:creationId xmlns:a16="http://schemas.microsoft.com/office/drawing/2014/main" id="{45C12FA4-0EF9-4460-99E2-A9652D55F5DF}"/>
              </a:ext>
            </a:extLst>
          </p:cNvPr>
          <p:cNvSpPr/>
          <p:nvPr>
            <p:custDataLst>
              <p:tags r:id="rId75"/>
            </p:custDataLst>
          </p:nvPr>
        </p:nvSpPr>
        <p:spPr bwMode="gray">
          <a:xfrm>
            <a:off x="3549650" y="327818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29" name="Rombe 28">
            <a:extLst>
              <a:ext uri="{FF2B5EF4-FFF2-40B4-BE49-F238E27FC236}">
                <a16:creationId xmlns:a16="http://schemas.microsoft.com/office/drawing/2014/main" id="{40B61671-8CF7-4C09-828C-686B94D937AA}"/>
              </a:ext>
            </a:extLst>
          </p:cNvPr>
          <p:cNvSpPr/>
          <p:nvPr>
            <p:custDataLst>
              <p:tags r:id="rId76"/>
            </p:custDataLst>
          </p:nvPr>
        </p:nvSpPr>
        <p:spPr bwMode="gray">
          <a:xfrm>
            <a:off x="6192838" y="4078288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03" name="Text Placeholder 2">
            <a:extLst>
              <a:ext uri="{FF2B5EF4-FFF2-40B4-BE49-F238E27FC236}">
                <a16:creationId xmlns:a16="http://schemas.microsoft.com/office/drawing/2014/main" id="{6981FEA8-8567-4225-A29A-DBD8646E01ED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7418388" y="4276725"/>
            <a:ext cx="1905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3.3.</a:t>
            </a:r>
          </a:p>
        </p:txBody>
      </p:sp>
      <p:sp>
        <p:nvSpPr>
          <p:cNvPr id="96" name="Rectangle 376"/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273050" y="2179638"/>
            <a:ext cx="19208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SPOR C1: FAGLIGE OPGAVER</a:t>
            </a:r>
          </a:p>
        </p:txBody>
      </p:sp>
      <p:sp>
        <p:nvSpPr>
          <p:cNvPr id="95" name="Rectangle 94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934325" y="2830513"/>
            <a:ext cx="32543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26" err="1">
                <a:solidFill>
                  <a:schemeClr val="tx1"/>
                </a:solidFill>
                <a:sym typeface="+mn-lt"/>
              </a:rPr>
              <a:t>RIRO</a:t>
            </a:r>
            <a:endParaRPr lang="da-DK" sz="1026">
              <a:solidFill>
                <a:schemeClr val="tx1"/>
              </a:solidFill>
              <a:sym typeface="+mn-lt"/>
            </a:endParaRPr>
          </a:p>
        </p:txBody>
      </p:sp>
      <p:sp>
        <p:nvSpPr>
          <p:cNvPr id="101" name="Rectangle 100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934325" y="2397125"/>
            <a:ext cx="254000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26" err="1">
                <a:solidFill>
                  <a:schemeClr val="tx1"/>
                </a:solidFill>
                <a:sym typeface="+mn-lt"/>
              </a:rPr>
              <a:t>TBV</a:t>
            </a:r>
            <a:endParaRPr lang="da-DK" sz="1026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ctangle 377">
            <a:extLst>
              <a:ext uri="{FF2B5EF4-FFF2-40B4-BE49-F238E27FC236}">
                <a16:creationId xmlns:a16="http://schemas.microsoft.com/office/drawing/2014/main" id="{B03D038F-0AAA-446C-8B17-AAA03C2EA8EA}"/>
              </a:ext>
            </a:extLst>
          </p:cNvPr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273050" y="2613025"/>
            <a:ext cx="1454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>
                <a:latin typeface="Arial Narrow" panose="020B0606020202030204" pitchFamily="34" charset="0"/>
                <a:sym typeface="Arial Narrow" panose="020B0606020202030204" pitchFamily="34" charset="0"/>
              </a:rPr>
              <a:t>C1_2 Detaljerede opgaver as-is</a:t>
            </a:r>
          </a:p>
        </p:txBody>
      </p:sp>
      <p:sp>
        <p:nvSpPr>
          <p:cNvPr id="97" name="Rectangle 378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273050" y="4491038"/>
            <a:ext cx="7032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6 Indgange</a:t>
            </a:r>
          </a:p>
        </p:txBody>
      </p:sp>
      <p:sp>
        <p:nvSpPr>
          <p:cNvPr id="144" name="Text Placeholder 2">
            <a:extLst>
              <a:ext uri="{FF2B5EF4-FFF2-40B4-BE49-F238E27FC236}">
                <a16:creationId xmlns:a16="http://schemas.microsoft.com/office/drawing/2014/main" id="{1B168D82-0395-4322-A1C2-B4011F74144B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7418388" y="4491038"/>
            <a:ext cx="2540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21.1.</a:t>
            </a:r>
          </a:p>
        </p:txBody>
      </p:sp>
      <p:sp>
        <p:nvSpPr>
          <p:cNvPr id="99" name="Rectangle 377"/>
          <p:cNvSpPr>
            <a:spLocks noChangeArrowheads="1"/>
          </p:cNvSpPr>
          <p:nvPr>
            <p:custDataLst>
              <p:tags r:id="rId84"/>
            </p:custDataLst>
          </p:nvPr>
        </p:nvSpPr>
        <p:spPr bwMode="auto">
          <a:xfrm>
            <a:off x="273050" y="2397125"/>
            <a:ext cx="1360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>
                <a:latin typeface="Arial Narrow" panose="020B0606020202030204" pitchFamily="34" charset="0"/>
                <a:sym typeface="Arial Narrow" panose="020B0606020202030204" pitchFamily="34" charset="0"/>
              </a:rPr>
              <a:t>C1_1 Særligt kritiske opgaver</a:t>
            </a:r>
          </a:p>
        </p:txBody>
      </p:sp>
      <p:sp>
        <p:nvSpPr>
          <p:cNvPr id="91" name="Rectangle 90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7934325" y="4491038"/>
            <a:ext cx="184150" cy="1682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100" i="1" dirty="0">
                <a:solidFill>
                  <a:schemeClr val="tx1"/>
                </a:solidFill>
                <a:latin typeface="Arial Narrow"/>
                <a:sym typeface="Arial Narrow" panose="020B0606020202030204" pitchFamily="34" charset="0"/>
              </a:rPr>
              <a:t>Afventer</a:t>
            </a:r>
            <a:endParaRPr lang="da-DK" sz="1100" i="1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94" name="Rectangle 378"/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273050" y="2830513"/>
            <a:ext cx="15255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2b Detaljerede opgaver to-</a:t>
            </a:r>
            <a:r>
              <a:rPr lang="da-DK" sz="1000" dirty="0" err="1">
                <a:latin typeface="Arial Narrow" panose="020B0606020202030204" pitchFamily="34" charset="0"/>
                <a:sym typeface="Arial Narrow" panose="020B0606020202030204" pitchFamily="34" charset="0"/>
              </a:rPr>
              <a:t>be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47" name="Rectangle 378">
            <a:extLst>
              <a:ext uri="{FF2B5EF4-FFF2-40B4-BE49-F238E27FC236}">
                <a16:creationId xmlns:a16="http://schemas.microsoft.com/office/drawing/2014/main" id="{43204EBE-72A9-4EC2-8789-314076757D40}"/>
              </a:ext>
            </a:extLst>
          </p:cNvPr>
          <p:cNvSpPr>
            <a:spLocks noChangeArrowheads="1"/>
          </p:cNvSpPr>
          <p:nvPr>
            <p:custDataLst>
              <p:tags r:id="rId87"/>
            </p:custDataLst>
          </p:nvPr>
        </p:nvSpPr>
        <p:spPr bwMode="auto">
          <a:xfrm>
            <a:off x="273050" y="4719638"/>
            <a:ext cx="17541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7 Campusbyer observationspakke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37" name="Rectangle 94">
            <a:extLst>
              <a:ext uri="{FF2B5EF4-FFF2-40B4-BE49-F238E27FC236}">
                <a16:creationId xmlns:a16="http://schemas.microsoft.com/office/drawing/2014/main" id="{E2A2F1D7-C29C-4C09-BF7B-83B2A2659D6C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7934324" y="3263900"/>
            <a:ext cx="5730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 dirty="0" err="1">
                <a:solidFill>
                  <a:schemeClr val="tx1"/>
                </a:solidFill>
              </a:rPr>
              <a:t>BRA</a:t>
            </a:r>
            <a:r>
              <a:rPr lang="da-DK" altLang="en-US" sz="1026" dirty="0">
                <a:solidFill>
                  <a:schemeClr val="tx1"/>
                </a:solidFill>
              </a:rPr>
              <a:t>/ANS</a:t>
            </a:r>
            <a:endParaRPr lang="da-DK" sz="1026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862428C1-A0D4-41E7-99AC-8488B0BCB36C}"/>
              </a:ext>
            </a:extLst>
          </p:cNvPr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7418388" y="2830513"/>
            <a:ext cx="2857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900" dirty="0">
                <a:sym typeface="+mn-lt"/>
              </a:rPr>
              <a:t>17.1. </a:t>
            </a:r>
          </a:p>
        </p:txBody>
      </p:sp>
      <p:sp>
        <p:nvSpPr>
          <p:cNvPr id="165" name="Rectangle 94">
            <a:extLst>
              <a:ext uri="{FF2B5EF4-FFF2-40B4-BE49-F238E27FC236}">
                <a16:creationId xmlns:a16="http://schemas.microsoft.com/office/drawing/2014/main" id="{DD951D0F-4969-423B-9112-D5D944D5C383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7934325" y="3046413"/>
            <a:ext cx="2682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 dirty="0">
                <a:solidFill>
                  <a:schemeClr val="tx1"/>
                </a:solidFill>
              </a:rPr>
              <a:t>ANS</a:t>
            </a:r>
            <a:endParaRPr lang="da-DK" sz="1026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6" name="Rectangle 378">
            <a:extLst>
              <a:ext uri="{FF2B5EF4-FFF2-40B4-BE49-F238E27FC236}">
                <a16:creationId xmlns:a16="http://schemas.microsoft.com/office/drawing/2014/main" id="{C6817353-6922-4CBD-AF39-DDEB2E9F5F6D}"/>
              </a:ext>
            </a:extLst>
          </p:cNvPr>
          <p:cNvSpPr>
            <a:spLocks noChangeArrowheads="1"/>
          </p:cNvSpPr>
          <p:nvPr>
            <p:custDataLst>
              <p:tags r:id="rId91"/>
            </p:custDataLst>
          </p:nvPr>
        </p:nvSpPr>
        <p:spPr bwMode="auto">
          <a:xfrm>
            <a:off x="273050" y="3263900"/>
            <a:ext cx="21224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3a Fakulteter – Digitalt ledelsesparadigme</a:t>
            </a:r>
          </a:p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 på fakulteter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0" name="Rectangle 378">
            <a:extLst>
              <a:ext uri="{FF2B5EF4-FFF2-40B4-BE49-F238E27FC236}">
                <a16:creationId xmlns:a16="http://schemas.microsoft.com/office/drawing/2014/main" id="{FE20748C-4CC4-425A-B57E-F717F08F9366}"/>
              </a:ext>
            </a:extLst>
          </p:cNvPr>
          <p:cNvSpPr>
            <a:spLocks noChangeArrowheads="1"/>
          </p:cNvSpPr>
          <p:nvPr>
            <p:custDataLst>
              <p:tags r:id="rId92"/>
            </p:custDataLst>
          </p:nvPr>
        </p:nvSpPr>
        <p:spPr bwMode="auto">
          <a:xfrm>
            <a:off x="273050" y="4933950"/>
            <a:ext cx="5191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8 Fysik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3" name="Rectangle 90">
            <a:extLst>
              <a:ext uri="{FF2B5EF4-FFF2-40B4-BE49-F238E27FC236}">
                <a16:creationId xmlns:a16="http://schemas.microsoft.com/office/drawing/2014/main" id="{1A22879F-AA89-497F-91F9-A5BC18FFDAF5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7934325" y="4933950"/>
            <a:ext cx="414338" cy="160338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50" dirty="0" err="1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CEI</a:t>
            </a:r>
            <a:r>
              <a:rPr lang="da-DK" altLang="en-US" sz="1000" dirty="0">
                <a:solidFill>
                  <a:schemeClr val="tx1"/>
                </a:solidFill>
                <a:latin typeface="Arial Narrow" panose="020B0606020202030204" pitchFamily="34" charset="0"/>
                <a:sym typeface="Arial Narrow" panose="020B0606020202030204" pitchFamily="34" charset="0"/>
              </a:rPr>
              <a:t> (TS)</a:t>
            </a:r>
            <a:endParaRPr lang="da-DK" sz="100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6" name="Rectangle 100">
            <a:extLst>
              <a:ext uri="{FF2B5EF4-FFF2-40B4-BE49-F238E27FC236}">
                <a16:creationId xmlns:a16="http://schemas.microsoft.com/office/drawing/2014/main" id="{7D798ECB-E390-43C7-9680-5810DC9BDA7E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934325" y="2613025"/>
            <a:ext cx="32543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 dirty="0" err="1">
                <a:solidFill>
                  <a:schemeClr val="tx1"/>
                </a:solidFill>
              </a:rPr>
              <a:t>RIRO</a:t>
            </a:r>
            <a:endParaRPr lang="da-DK" sz="1026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3" name="Text Placeholder 2">
            <a:extLst>
              <a:ext uri="{FF2B5EF4-FFF2-40B4-BE49-F238E27FC236}">
                <a16:creationId xmlns:a16="http://schemas.microsoft.com/office/drawing/2014/main" id="{35251730-18FD-4052-9B8B-FB44440430DB}"/>
              </a:ext>
            </a:extLst>
          </p:cNvPr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7418388" y="4064000"/>
            <a:ext cx="1905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3.3.</a:t>
            </a:r>
            <a:endParaRPr lang="da-DK" sz="900" dirty="0">
              <a:sym typeface="+mn-lt"/>
            </a:endParaRPr>
          </a:p>
        </p:txBody>
      </p:sp>
      <p:sp>
        <p:nvSpPr>
          <p:cNvPr id="158" name="Rectangle 94">
            <a:extLst>
              <a:ext uri="{FF2B5EF4-FFF2-40B4-BE49-F238E27FC236}">
                <a16:creationId xmlns:a16="http://schemas.microsoft.com/office/drawing/2014/main" id="{DA0890C8-DC6E-47E4-B3D1-A9AABDEFB371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934325" y="3629025"/>
            <a:ext cx="428625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 dirty="0">
                <a:solidFill>
                  <a:schemeClr val="tx1"/>
                </a:solidFill>
              </a:rPr>
              <a:t>MLI </a:t>
            </a:r>
            <a:endParaRPr lang="da-DK" sz="1026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2" name="Rectangle 732"/>
          <p:cNvSpPr>
            <a:spLocks noChangeArrowheads="1"/>
          </p:cNvSpPr>
          <p:nvPr>
            <p:custDataLst>
              <p:tags r:id="rId97"/>
            </p:custDataLst>
          </p:nvPr>
        </p:nvSpPr>
        <p:spPr bwMode="auto">
          <a:xfrm>
            <a:off x="2097088" y="1751013"/>
            <a:ext cx="400050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dirty="0">
                <a:sym typeface="+mn-lt"/>
              </a:rPr>
              <a:t>Måned</a:t>
            </a:r>
          </a:p>
        </p:txBody>
      </p:sp>
      <p:sp>
        <p:nvSpPr>
          <p:cNvPr id="105" name="Rectangle 378">
            <a:extLst>
              <a:ext uri="{FF2B5EF4-FFF2-40B4-BE49-F238E27FC236}">
                <a16:creationId xmlns:a16="http://schemas.microsoft.com/office/drawing/2014/main" id="{F5ACD92B-A6C4-49EA-A0F8-3E5F603246A8}"/>
              </a:ext>
            </a:extLst>
          </p:cNvPr>
          <p:cNvSpPr>
            <a:spLocks noChangeArrowheads="1"/>
          </p:cNvSpPr>
          <p:nvPr>
            <p:custDataLst>
              <p:tags r:id="rId98"/>
            </p:custDataLst>
          </p:nvPr>
        </p:nvSpPr>
        <p:spPr bwMode="auto">
          <a:xfrm>
            <a:off x="273050" y="5154613"/>
            <a:ext cx="1238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9 Undervisningslokaler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83D6E134-B551-4A5C-AEC7-4D6FBE4AD95B}"/>
              </a:ext>
            </a:extLst>
          </p:cNvPr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7418388" y="5154613"/>
            <a:ext cx="2857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21.1. </a:t>
            </a:r>
            <a:endParaRPr lang="da-DK" sz="900" dirty="0">
              <a:sym typeface="+mn-lt"/>
            </a:endParaRPr>
          </a:p>
        </p:txBody>
      </p:sp>
      <p:sp>
        <p:nvSpPr>
          <p:cNvPr id="106" name="Rectangle 90">
            <a:extLst>
              <a:ext uri="{FF2B5EF4-FFF2-40B4-BE49-F238E27FC236}">
                <a16:creationId xmlns:a16="http://schemas.microsoft.com/office/drawing/2014/main" id="{86B893F3-4AB5-4341-B31B-EB58DC23F5A2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934325" y="5154613"/>
            <a:ext cx="323850" cy="1365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50" dirty="0">
                <a:solidFill>
                  <a:schemeClr val="tx1"/>
                </a:solidFill>
                <a:latin typeface="Arial Narrow"/>
                <a:sym typeface="Arial Narrow" panose="020B0606020202030204" pitchFamily="34" charset="0"/>
              </a:rPr>
              <a:t>MIHL</a:t>
            </a:r>
            <a:endParaRPr lang="da-DK" sz="1050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56" name="Rectangle 378">
            <a:extLst>
              <a:ext uri="{FF2B5EF4-FFF2-40B4-BE49-F238E27FC236}">
                <a16:creationId xmlns:a16="http://schemas.microsoft.com/office/drawing/2014/main" id="{9473CA80-8336-41FF-AA34-9A826E693720}"/>
              </a:ext>
            </a:extLst>
          </p:cNvPr>
          <p:cNvSpPr>
            <a:spLocks noChangeArrowheads="1"/>
          </p:cNvSpPr>
          <p:nvPr>
            <p:custDataLst>
              <p:tags r:id="rId101"/>
            </p:custDataLst>
          </p:nvPr>
        </p:nvSpPr>
        <p:spPr bwMode="auto">
          <a:xfrm>
            <a:off x="273050" y="3629025"/>
            <a:ext cx="13001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3b Fakulteter – E-læring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59" name="Rectangle 378">
            <a:extLst>
              <a:ext uri="{FF2B5EF4-FFF2-40B4-BE49-F238E27FC236}">
                <a16:creationId xmlns:a16="http://schemas.microsoft.com/office/drawing/2014/main" id="{D2F7DB2E-9C99-4147-A052-25E36F1F3E02}"/>
              </a:ext>
            </a:extLst>
          </p:cNvPr>
          <p:cNvSpPr>
            <a:spLocks noChangeArrowheads="1"/>
          </p:cNvSpPr>
          <p:nvPr>
            <p:custDataLst>
              <p:tags r:id="rId102"/>
            </p:custDataLst>
          </p:nvPr>
        </p:nvSpPr>
        <p:spPr bwMode="auto">
          <a:xfrm>
            <a:off x="273050" y="3846513"/>
            <a:ext cx="1692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3d </a:t>
            </a:r>
            <a:r>
              <a:rPr lang="da-DK" altLang="en-US" sz="1000" dirty="0" err="1">
                <a:latin typeface="Arial Narrow" panose="020B0606020202030204" pitchFamily="34" charset="0"/>
                <a:sym typeface="Arial Narrow" panose="020B0606020202030204" pitchFamily="34" charset="0"/>
              </a:rPr>
              <a:t>Fak</a:t>
            </a: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.  Weborganisering </a:t>
            </a:r>
            <a:r>
              <a:rPr lang="da-DK" altLang="en-US" sz="1000" dirty="0" err="1">
                <a:latin typeface="Arial Narrow" panose="020B0606020202030204" pitchFamily="34" charset="0"/>
                <a:sym typeface="Arial Narrow" panose="020B0606020202030204" pitchFamily="34" charset="0"/>
              </a:rPr>
              <a:t>SAMF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9" name="Rectangle 375"/>
          <p:cNvSpPr>
            <a:spLocks noChangeArrowheads="1"/>
          </p:cNvSpPr>
          <p:nvPr>
            <p:custDataLst>
              <p:tags r:id="rId103"/>
            </p:custDataLst>
          </p:nvPr>
        </p:nvSpPr>
        <p:spPr bwMode="auto">
          <a:xfrm>
            <a:off x="273050" y="1954213"/>
            <a:ext cx="11715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ARBEJDSPAKKER</a:t>
            </a:r>
          </a:p>
        </p:txBody>
      </p:sp>
      <p:sp>
        <p:nvSpPr>
          <p:cNvPr id="160" name="Text Placeholder 2">
            <a:extLst>
              <a:ext uri="{FF2B5EF4-FFF2-40B4-BE49-F238E27FC236}">
                <a16:creationId xmlns:a16="http://schemas.microsoft.com/office/drawing/2014/main" id="{CBAD6AB4-2C38-4D7E-A0CE-6D3736421929}"/>
              </a:ext>
            </a:extLst>
          </p:cNvPr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7418388" y="3846513"/>
            <a:ext cx="2857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24.3. </a:t>
            </a:r>
          </a:p>
        </p:txBody>
      </p:sp>
      <p:sp>
        <p:nvSpPr>
          <p:cNvPr id="107" name="Rectangle 378">
            <a:extLst>
              <a:ext uri="{FF2B5EF4-FFF2-40B4-BE49-F238E27FC236}">
                <a16:creationId xmlns:a16="http://schemas.microsoft.com/office/drawing/2014/main" id="{CADC73C6-0640-46D5-A199-A3D812A99222}"/>
              </a:ext>
            </a:extLst>
          </p:cNvPr>
          <p:cNvSpPr>
            <a:spLocks noChangeArrowheads="1"/>
          </p:cNvSpPr>
          <p:nvPr>
            <p:custDataLst>
              <p:tags r:id="rId105"/>
            </p:custDataLst>
          </p:nvPr>
        </p:nvSpPr>
        <p:spPr bwMode="auto">
          <a:xfrm>
            <a:off x="273050" y="5368925"/>
            <a:ext cx="12938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/>
                <a:sym typeface="Arial Narrow" panose="020B0606020202030204" pitchFamily="34" charset="0"/>
              </a:rPr>
              <a:t>C1_10 Lab-IT/Forsknings-IT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49" name="Text Placeholder 2">
            <a:extLst>
              <a:ext uri="{FF2B5EF4-FFF2-40B4-BE49-F238E27FC236}">
                <a16:creationId xmlns:a16="http://schemas.microsoft.com/office/drawing/2014/main" id="{BDB94D26-B208-401D-9D75-A9FBB79CC42D}"/>
              </a:ext>
            </a:extLst>
          </p:cNvPr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7418388" y="5368925"/>
            <a:ext cx="2857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21.1. </a:t>
            </a:r>
            <a:endParaRPr lang="da-DK" sz="900" dirty="0">
              <a:sym typeface="+mn-lt"/>
            </a:endParaRPr>
          </a:p>
        </p:txBody>
      </p:sp>
      <p:sp>
        <p:nvSpPr>
          <p:cNvPr id="93" name="Text Placeholder 2">
            <a:extLst>
              <a:ext uri="{FF2B5EF4-FFF2-40B4-BE49-F238E27FC236}">
                <a16:creationId xmlns:a16="http://schemas.microsoft.com/office/drawing/2014/main" id="{FA04C7B2-E413-403F-B771-AA439C8232BA}"/>
              </a:ext>
            </a:extLst>
          </p:cNvPr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7418388" y="1766888"/>
            <a:ext cx="455613" cy="342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26" i="1">
                <a:sym typeface="+mn-lt"/>
              </a:rPr>
              <a:t>Næste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1026" i="1">
                <a:sym typeface="+mn-lt"/>
              </a:rPr>
              <a:t>milepæl</a:t>
            </a:r>
            <a:endParaRPr lang="da-DK" sz="1026" i="1">
              <a:sym typeface="+mn-lt"/>
            </a:endParaRPr>
          </a:p>
        </p:txBody>
      </p:sp>
      <p:sp>
        <p:nvSpPr>
          <p:cNvPr id="161" name="Rectangle 94">
            <a:extLst>
              <a:ext uri="{FF2B5EF4-FFF2-40B4-BE49-F238E27FC236}">
                <a16:creationId xmlns:a16="http://schemas.microsoft.com/office/drawing/2014/main" id="{406A59A1-8114-4A59-BB03-48D6D8697A6A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934325" y="3846513"/>
            <a:ext cx="268288" cy="15557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26" dirty="0">
                <a:solidFill>
                  <a:schemeClr val="tx1"/>
                </a:solidFill>
              </a:rPr>
              <a:t>ANS</a:t>
            </a:r>
            <a:endParaRPr lang="da-DK" sz="1026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1" name="Rectangle 593"/>
          <p:cNvSpPr>
            <a:spLocks noChangeArrowheads="1"/>
          </p:cNvSpPr>
          <p:nvPr>
            <p:custDataLst>
              <p:tags r:id="rId109"/>
            </p:custDataLst>
          </p:nvPr>
        </p:nvSpPr>
        <p:spPr bwMode="auto">
          <a:xfrm>
            <a:off x="7934325" y="1954213"/>
            <a:ext cx="5365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Ansvarlig</a:t>
            </a:r>
          </a:p>
        </p:txBody>
      </p:sp>
      <p:sp>
        <p:nvSpPr>
          <p:cNvPr id="108" name="Rectangle 90">
            <a:extLst>
              <a:ext uri="{FF2B5EF4-FFF2-40B4-BE49-F238E27FC236}">
                <a16:creationId xmlns:a16="http://schemas.microsoft.com/office/drawing/2014/main" id="{3D2CDFC5-1911-4E3F-AAF3-F1C83F771C32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934325" y="5368924"/>
            <a:ext cx="525463" cy="2730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900" i="1" dirty="0">
                <a:solidFill>
                  <a:schemeClr val="tx1"/>
                </a:solidFill>
                <a:latin typeface="Arial Narrow"/>
                <a:sym typeface="Arial Narrow" panose="020B0606020202030204" pitchFamily="34" charset="0"/>
              </a:rPr>
              <a:t>Afventer</a:t>
            </a:r>
            <a:endParaRPr lang="da-DK" sz="900" i="1" dirty="0">
              <a:solidFill>
                <a:schemeClr val="tx1"/>
              </a:solidFill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77" name="Rectangle 733"/>
          <p:cNvSpPr>
            <a:spLocks noChangeArrowheads="1"/>
          </p:cNvSpPr>
          <p:nvPr>
            <p:custDataLst>
              <p:tags r:id="rId111"/>
            </p:custDataLst>
          </p:nvPr>
        </p:nvSpPr>
        <p:spPr bwMode="auto">
          <a:xfrm>
            <a:off x="2257425" y="1954213"/>
            <a:ext cx="23971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Uge</a:t>
            </a:r>
          </a:p>
        </p:txBody>
      </p:sp>
      <p:sp>
        <p:nvSpPr>
          <p:cNvPr id="138" name="Rectangle 378">
            <a:extLst>
              <a:ext uri="{FF2B5EF4-FFF2-40B4-BE49-F238E27FC236}">
                <a16:creationId xmlns:a16="http://schemas.microsoft.com/office/drawing/2014/main" id="{EC2DCCAA-C6E5-4927-A253-C96B896C3BB8}"/>
              </a:ext>
            </a:extLst>
          </p:cNvPr>
          <p:cNvSpPr>
            <a:spLocks noChangeArrowheads="1"/>
          </p:cNvSpPr>
          <p:nvPr>
            <p:custDataLst>
              <p:tags r:id="rId112"/>
            </p:custDataLst>
          </p:nvPr>
        </p:nvSpPr>
        <p:spPr bwMode="auto">
          <a:xfrm>
            <a:off x="273050" y="4064000"/>
            <a:ext cx="10874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>
                <a:latin typeface="Arial Narrow" panose="020B0606020202030204" pitchFamily="34" charset="0"/>
                <a:sym typeface="Arial Narrow" panose="020B0606020202030204" pitchFamily="34" charset="0"/>
              </a:rPr>
              <a:t>C1_4 Samarbejdsflader</a:t>
            </a:r>
            <a:endParaRPr lang="da-DK" sz="100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00" name="Rectangle 378"/>
          <p:cNvSpPr>
            <a:spLocks noChangeArrowheads="1"/>
          </p:cNvSpPr>
          <p:nvPr>
            <p:custDataLst>
              <p:tags r:id="rId113"/>
            </p:custDataLst>
          </p:nvPr>
        </p:nvSpPr>
        <p:spPr bwMode="auto">
          <a:xfrm>
            <a:off x="273050" y="4276725"/>
            <a:ext cx="896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5 Partnermodel</a:t>
            </a:r>
          </a:p>
        </p:txBody>
      </p:sp>
      <p:sp>
        <p:nvSpPr>
          <p:cNvPr id="157" name="Text Placeholder 2">
            <a:extLst>
              <a:ext uri="{FF2B5EF4-FFF2-40B4-BE49-F238E27FC236}">
                <a16:creationId xmlns:a16="http://schemas.microsoft.com/office/drawing/2014/main" id="{05C61A67-5318-41AB-8A6B-20C6E290F2F8}"/>
              </a:ext>
            </a:extLst>
          </p:cNvPr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7418388" y="3629025"/>
            <a:ext cx="2857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900" dirty="0">
                <a:sym typeface="+mn-lt"/>
              </a:rPr>
              <a:t>24.1. </a:t>
            </a:r>
          </a:p>
        </p:txBody>
      </p:sp>
      <p:sp>
        <p:nvSpPr>
          <p:cNvPr id="163" name="Rectangle 378">
            <a:extLst>
              <a:ext uri="{FF2B5EF4-FFF2-40B4-BE49-F238E27FC236}">
                <a16:creationId xmlns:a16="http://schemas.microsoft.com/office/drawing/2014/main" id="{F844C711-4357-4DB9-B2AD-BB36C55A48FF}"/>
              </a:ext>
            </a:extLst>
          </p:cNvPr>
          <p:cNvSpPr>
            <a:spLocks noChangeArrowheads="1"/>
          </p:cNvSpPr>
          <p:nvPr>
            <p:custDataLst>
              <p:tags r:id="rId115"/>
            </p:custDataLst>
          </p:nvPr>
        </p:nvSpPr>
        <p:spPr bwMode="auto">
          <a:xfrm>
            <a:off x="273050" y="3046413"/>
            <a:ext cx="15652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00" dirty="0">
                <a:latin typeface="Arial Narrow" panose="020B0606020202030204" pitchFamily="34" charset="0"/>
                <a:sym typeface="Arial Narrow" panose="020B0606020202030204" pitchFamily="34" charset="0"/>
              </a:rPr>
              <a:t>C1_3 Fakulteter opsamlingspakke</a:t>
            </a:r>
            <a:endParaRPr lang="da-DK" sz="1000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70" name="Text Placeholder 2">
            <a:extLst>
              <a:ext uri="{FF2B5EF4-FFF2-40B4-BE49-F238E27FC236}">
                <a16:creationId xmlns:a16="http://schemas.microsoft.com/office/drawing/2014/main" id="{BFD644BD-C7E6-4EB1-9CF1-3AE75E4A1337}"/>
              </a:ext>
            </a:extLst>
          </p:cNvPr>
          <p:cNvSpPr>
            <a:spLocks noGrp="1"/>
          </p:cNvSpPr>
          <p:nvPr>
            <p:custDataLst>
              <p:tags r:id="rId116"/>
            </p:custDataLst>
          </p:nvPr>
        </p:nvSpPr>
        <p:spPr bwMode="auto">
          <a:xfrm>
            <a:off x="7418388" y="4933950"/>
            <a:ext cx="1587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1.2</a:t>
            </a:r>
            <a:endParaRPr lang="da-DK" sz="900" dirty="0">
              <a:sym typeface="+mn-lt"/>
            </a:endParaRP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1213965C-24A4-44E5-8EE2-D29FA84D6275}"/>
              </a:ext>
            </a:extLst>
          </p:cNvPr>
          <p:cNvSpPr/>
          <p:nvPr/>
        </p:nvSpPr>
        <p:spPr>
          <a:xfrm>
            <a:off x="2991802" y="6613079"/>
            <a:ext cx="3002599" cy="219521"/>
          </a:xfrm>
          <a:prstGeom prst="rect">
            <a:avLst/>
          </a:prstGeom>
          <a:solidFill>
            <a:srgbClr val="D05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 dirty="0"/>
              <a:t>Forbered til godkendelse i T-ledelse</a:t>
            </a:r>
          </a:p>
        </p:txBody>
      </p:sp>
      <p:sp>
        <p:nvSpPr>
          <p:cNvPr id="84" name="Rektangel 83">
            <a:extLst>
              <a:ext uri="{FF2B5EF4-FFF2-40B4-BE49-F238E27FC236}">
                <a16:creationId xmlns:a16="http://schemas.microsoft.com/office/drawing/2014/main" id="{1EC8C8C4-DCD3-40CC-8DA4-9AC5B6FD0414}"/>
              </a:ext>
            </a:extLst>
          </p:cNvPr>
          <p:cNvSpPr/>
          <p:nvPr/>
        </p:nvSpPr>
        <p:spPr>
          <a:xfrm>
            <a:off x="6096000" y="6601745"/>
            <a:ext cx="3002599" cy="219521"/>
          </a:xfrm>
          <a:prstGeom prst="rect">
            <a:avLst/>
          </a:prstGeom>
          <a:solidFill>
            <a:srgbClr val="DDC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>
                <a:solidFill>
                  <a:schemeClr val="tx1"/>
                </a:solidFill>
              </a:rPr>
              <a:t>Gennemfør</a:t>
            </a:r>
          </a:p>
        </p:txBody>
      </p:sp>
      <p:cxnSp>
        <p:nvCxnSpPr>
          <p:cNvPr id="141" name="Lige forbindelse 140">
            <a:extLst>
              <a:ext uri="{FF2B5EF4-FFF2-40B4-BE49-F238E27FC236}">
                <a16:creationId xmlns:a16="http://schemas.microsoft.com/office/drawing/2014/main" id="{657343B6-FD92-4C54-B68A-DDB0DEF3A628}"/>
              </a:ext>
            </a:extLst>
          </p:cNvPr>
          <p:cNvCxnSpPr/>
          <p:nvPr>
            <p:custDataLst>
              <p:tags r:id="rId117"/>
            </p:custDataLst>
          </p:nvPr>
        </p:nvCxnSpPr>
        <p:spPr bwMode="gray">
          <a:xfrm>
            <a:off x="3759200" y="2109788"/>
            <a:ext cx="0" cy="3554412"/>
          </a:xfrm>
          <a:prstGeom prst="line">
            <a:avLst/>
          </a:prstGeom>
          <a:ln w="19050" cap="flat" cmpd="sng" algn="ctr">
            <a:solidFill>
              <a:srgbClr val="808080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Rektangel 165">
            <a:extLst>
              <a:ext uri="{FF2B5EF4-FFF2-40B4-BE49-F238E27FC236}">
                <a16:creationId xmlns:a16="http://schemas.microsoft.com/office/drawing/2014/main" id="{25202D2C-EE8B-4E60-B8D4-45823C7B650C}"/>
              </a:ext>
            </a:extLst>
          </p:cNvPr>
          <p:cNvSpPr/>
          <p:nvPr/>
        </p:nvSpPr>
        <p:spPr>
          <a:xfrm>
            <a:off x="396643" y="6626226"/>
            <a:ext cx="2524516" cy="206375"/>
          </a:xfrm>
          <a:prstGeom prst="rect">
            <a:avLst/>
          </a:prstGeom>
          <a:solidFill>
            <a:srgbClr val="AEB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 dirty="0"/>
              <a:t>Fokusområde (ikke konkrete aktiviteter)</a:t>
            </a:r>
          </a:p>
        </p:txBody>
      </p:sp>
      <p:sp>
        <p:nvSpPr>
          <p:cNvPr id="169" name="Rektangel 168">
            <a:extLst>
              <a:ext uri="{FF2B5EF4-FFF2-40B4-BE49-F238E27FC236}">
                <a16:creationId xmlns:a16="http://schemas.microsoft.com/office/drawing/2014/main" id="{791BA07A-98BC-4601-BEBD-3FAE789C6154}"/>
              </a:ext>
            </a:extLst>
          </p:cNvPr>
          <p:cNvSpPr/>
          <p:nvPr/>
        </p:nvSpPr>
        <p:spPr>
          <a:xfrm>
            <a:off x="7737764" y="59701"/>
            <a:ext cx="1337833" cy="179403"/>
          </a:xfrm>
          <a:prstGeom prst="rect">
            <a:avLst/>
          </a:prstGeom>
          <a:solidFill>
            <a:srgbClr val="FF0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da-DK" sz="900" i="1" dirty="0">
                <a:solidFill>
                  <a:schemeClr val="bg1"/>
                </a:solidFill>
              </a:rPr>
              <a:t>Opdateret 16.1.2020</a:t>
            </a:r>
          </a:p>
        </p:txBody>
      </p:sp>
    </p:spTree>
    <p:extLst>
      <p:ext uri="{BB962C8B-B14F-4D97-AF65-F5344CB8AC3E}">
        <p14:creationId xmlns:p14="http://schemas.microsoft.com/office/powerpoint/2010/main" val="1453539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004498"/>
              </p:ext>
            </p:extLst>
          </p:nvPr>
        </p:nvGraphicFramePr>
        <p:xfrm>
          <a:off x="1358" y="197515"/>
          <a:ext cx="1357" cy="13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96" imgW="383" imgH="384" progId="TCLayout.ActiveDocument.1">
                  <p:embed/>
                </p:oleObj>
              </mc:Choice>
              <mc:Fallback>
                <p:oleObj name="think-cell Slide" r:id="rId96" imgW="383" imgH="384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97"/>
                      <a:stretch>
                        <a:fillRect/>
                      </a:stretch>
                    </p:blipFill>
                    <p:spPr>
                      <a:xfrm>
                        <a:off x="1358" y="197515"/>
                        <a:ext cx="1357" cy="13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196156"/>
            <a:ext cx="135748" cy="135748"/>
          </a:xfrm>
          <a:prstGeom prst="rect">
            <a:avLst/>
          </a:prstGeom>
          <a:solidFill>
            <a:srgbClr val="1E2F3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endParaRPr lang="da-DK" sz="120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sz="3200" b="1" dirty="0"/>
              <a:t>Spor C2, C3, C4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7EC89C-17A0-4E64-A6D2-B825673CEEDF}" type="slidenum">
              <a:rPr lang="da-DK" smtClean="0"/>
              <a:pPr/>
              <a:t>3</a:t>
            </a:fld>
            <a:endParaRPr lang="da-DK"/>
          </a:p>
        </p:txBody>
      </p:sp>
      <p:sp>
        <p:nvSpPr>
          <p:cNvPr id="18" name="Rectangle 17"/>
          <p:cNvSpPr/>
          <p:nvPr>
            <p:custDataLst>
              <p:tags r:id="rId4"/>
            </p:custDataLst>
          </p:nvPr>
        </p:nvSpPr>
        <p:spPr bwMode="auto">
          <a:xfrm>
            <a:off x="395288" y="4086225"/>
            <a:ext cx="8355013" cy="319088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85142" tIns="42571" rIns="85142" bIns="42571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539">
              <a:solidFill>
                <a:schemeClr val="tx1"/>
              </a:solidFill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651FAB15-3946-4742-A472-2561D26816B4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395288" y="4691063"/>
            <a:ext cx="8355013" cy="287338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err="1"/>
          </a:p>
        </p:txBody>
      </p:sp>
      <p:sp>
        <p:nvSpPr>
          <p:cNvPr id="20" name="Rectangle 19"/>
          <p:cNvSpPr/>
          <p:nvPr>
            <p:custDataLst>
              <p:tags r:id="rId6"/>
            </p:custDataLst>
          </p:nvPr>
        </p:nvSpPr>
        <p:spPr bwMode="auto">
          <a:xfrm>
            <a:off x="395288" y="2147888"/>
            <a:ext cx="8355013" cy="474663"/>
          </a:xfrm>
          <a:prstGeom prst="rect">
            <a:avLst/>
          </a:prstGeom>
          <a:solidFill>
            <a:schemeClr val="accent5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142" tIns="42571" rIns="85142" bIns="42571" rtlCol="0" anchor="ctr"/>
          <a:lstStyle/>
          <a:p>
            <a:pPr algn="ctr"/>
            <a:endParaRPr lang="en-GB" sz="1539">
              <a:solidFill>
                <a:srgbClr val="FFFFFF"/>
              </a:solidFill>
            </a:endParaRPr>
          </a:p>
        </p:txBody>
      </p:sp>
      <p:sp>
        <p:nvSpPr>
          <p:cNvPr id="145" name="Rectangle 268">
            <a:extLst>
              <a:ext uri="{FF2B5EF4-FFF2-40B4-BE49-F238E27FC236}">
                <a16:creationId xmlns:a16="http://schemas.microsoft.com/office/drawing/2014/main" id="{A3E1CB72-804F-4D22-86B4-1A4932F11B2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973387" y="1741488"/>
            <a:ext cx="64135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E7BF16BB-A7F9-42FB-B960-AFDD98790323}" type="datetime'''''''''''''''''''''''''d''''''''''''''''''''''ec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dec</a:t>
            </a:fld>
            <a:endParaRPr lang="da-DK" sz="1026">
              <a:sym typeface="+mn-lt"/>
            </a:endParaRPr>
          </a:p>
        </p:txBody>
      </p:sp>
      <p:sp>
        <p:nvSpPr>
          <p:cNvPr id="166" name="Rectangle 268">
            <a:extLst>
              <a:ext uri="{FF2B5EF4-FFF2-40B4-BE49-F238E27FC236}">
                <a16:creationId xmlns:a16="http://schemas.microsoft.com/office/drawing/2014/main" id="{3B561AD0-A194-46FB-BAFF-442EAA5F862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14738" y="1741488"/>
            <a:ext cx="1243013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50B203B5-7E2C-4A77-B3E1-72B01F540A71}" type="datetime'ja''''''''''''''''''''''''n''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jan</a:t>
            </a:fld>
            <a:endParaRPr lang="da-DK" sz="1026">
              <a:sym typeface="+mn-lt"/>
            </a:endParaRPr>
          </a:p>
        </p:txBody>
      </p:sp>
      <p:sp>
        <p:nvSpPr>
          <p:cNvPr id="167" name="Rectangle 268">
            <a:extLst>
              <a:ext uri="{FF2B5EF4-FFF2-40B4-BE49-F238E27FC236}">
                <a16:creationId xmlns:a16="http://schemas.microsoft.com/office/drawing/2014/main" id="{9925B053-D3C1-4F74-9F7E-6F13FC5B0C64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57750" y="1741488"/>
            <a:ext cx="116363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D6644DAD-C8BC-45CC-89D1-B79DE8CB63AE}" type="datetime'''''''f''''''''''''''''''''''''''eb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feb</a:t>
            </a:fld>
            <a:endParaRPr lang="da-DK" sz="1026">
              <a:sym typeface="+mn-lt"/>
            </a:endParaRPr>
          </a:p>
        </p:txBody>
      </p:sp>
      <p:sp>
        <p:nvSpPr>
          <p:cNvPr id="168" name="Rectangle 268">
            <a:extLst>
              <a:ext uri="{FF2B5EF4-FFF2-40B4-BE49-F238E27FC236}">
                <a16:creationId xmlns:a16="http://schemas.microsoft.com/office/drawing/2014/main" id="{29D03DB2-1287-461B-9D49-5BED6FAC4F6F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021388" y="1741488"/>
            <a:ext cx="1243013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2F16841D-BAE8-4149-8D9D-038A98856E0F}" type="datetime'm''''''''''''''''''''''''''''''a''''''r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mar</a:t>
            </a:fld>
            <a:endParaRPr lang="da-DK" sz="1026">
              <a:sym typeface="+mn-lt"/>
            </a:endParaRPr>
          </a:p>
        </p:txBody>
      </p:sp>
      <p:sp>
        <p:nvSpPr>
          <p:cNvPr id="169" name="Rectangle 268">
            <a:extLst>
              <a:ext uri="{FF2B5EF4-FFF2-40B4-BE49-F238E27FC236}">
                <a16:creationId xmlns:a16="http://schemas.microsoft.com/office/drawing/2014/main" id="{379BEE12-DF5B-44E2-ADBA-9FEB9306CB82}"/>
              </a:ext>
            </a:extLst>
          </p:cNvPr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264400" y="1741488"/>
            <a:ext cx="200025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3AD8A2CE-52CE-457F-90B5-AE2405BA85AA}" type="datetime'''''''''''''''''''''''''''''''''''a''''p''''''''''''''r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apr</a:t>
            </a:fld>
            <a:endParaRPr lang="da-DK" sz="1026">
              <a:sym typeface="+mn-lt"/>
            </a:endParaRPr>
          </a:p>
        </p:txBody>
      </p:sp>
      <p:sp>
        <p:nvSpPr>
          <p:cNvPr id="144" name="Rectangle 268">
            <a:extLst>
              <a:ext uri="{FF2B5EF4-FFF2-40B4-BE49-F238E27FC236}">
                <a16:creationId xmlns:a16="http://schemas.microsoft.com/office/drawing/2014/main" id="{133A076A-EC14-4C46-9ABA-EF89E89823E6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973388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5DC4656F-87EF-45F9-B0A0-89BB3E541CCD}" type="datetime'5''''''''''''''''''''''''''''''''''''1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51</a:t>
            </a:fld>
            <a:endParaRPr lang="da-DK" sz="1026">
              <a:sym typeface="+mn-lt"/>
            </a:endParaRPr>
          </a:p>
        </p:txBody>
      </p:sp>
      <p:sp>
        <p:nvSpPr>
          <p:cNvPr id="146" name="Rectangle 268">
            <a:extLst>
              <a:ext uri="{FF2B5EF4-FFF2-40B4-BE49-F238E27FC236}">
                <a16:creationId xmlns:a16="http://schemas.microsoft.com/office/drawing/2014/main" id="{486E8099-9027-459C-BB88-6BD48EB050A7}"/>
              </a:ext>
            </a:extLst>
          </p:cNvPr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254375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64E23B76-177C-4BFB-A32B-7A75DA4AC6D6}" type="datetime'''''''''''''''''''5''''''''''''''''''''''''''2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52</a:t>
            </a:fld>
            <a:endParaRPr lang="da-DK" sz="1026">
              <a:sym typeface="+mn-lt"/>
            </a:endParaRPr>
          </a:p>
        </p:txBody>
      </p:sp>
      <p:sp>
        <p:nvSpPr>
          <p:cNvPr id="147" name="Rectangle 268">
            <a:extLst>
              <a:ext uri="{FF2B5EF4-FFF2-40B4-BE49-F238E27FC236}">
                <a16:creationId xmlns:a16="http://schemas.microsoft.com/office/drawing/2014/main" id="{591FEEE4-90EE-40DD-B711-A03448D1F64D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535362" y="1944688"/>
            <a:ext cx="27940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56AD76EC-5C87-4BA4-9B09-451C148520C1}" type="datetime'''''''''''''''''''''''''''''''0''''''''''''''''''''1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1</a:t>
            </a:fld>
            <a:endParaRPr lang="da-DK" sz="1026">
              <a:sym typeface="+mn-lt"/>
            </a:endParaRPr>
          </a:p>
        </p:txBody>
      </p:sp>
      <p:sp>
        <p:nvSpPr>
          <p:cNvPr id="148" name="Rectangle 268">
            <a:extLst>
              <a:ext uri="{FF2B5EF4-FFF2-40B4-BE49-F238E27FC236}">
                <a16:creationId xmlns:a16="http://schemas.microsoft.com/office/drawing/2014/main" id="{79BF0E51-CFF2-44D7-A3C4-B89226592858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814763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C8FC561-1DED-4CC9-B733-A4C7F018C354}" type="datetime'''''''''''''''''''''''''0''''''''''''2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2</a:t>
            </a:fld>
            <a:endParaRPr lang="da-DK" sz="1026">
              <a:sym typeface="+mn-lt"/>
            </a:endParaRPr>
          </a:p>
        </p:txBody>
      </p:sp>
      <p:sp>
        <p:nvSpPr>
          <p:cNvPr id="149" name="Rectangle 268">
            <a:extLst>
              <a:ext uri="{FF2B5EF4-FFF2-40B4-BE49-F238E27FC236}">
                <a16:creationId xmlns:a16="http://schemas.microsoft.com/office/drawing/2014/main" id="{48AAC6C1-F469-4CA0-A0EC-C218F43D4AE8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095750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2586E668-1CC5-4489-99D7-0592D97E00A7}" type="datetime'''''''''''''''''''''''''''0''''''''''''''3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3</a:t>
            </a:fld>
            <a:endParaRPr lang="da-DK" sz="1026">
              <a:sym typeface="+mn-lt"/>
            </a:endParaRPr>
          </a:p>
        </p:txBody>
      </p:sp>
      <p:sp>
        <p:nvSpPr>
          <p:cNvPr id="150" name="Rectangle 268">
            <a:extLst>
              <a:ext uri="{FF2B5EF4-FFF2-40B4-BE49-F238E27FC236}">
                <a16:creationId xmlns:a16="http://schemas.microsoft.com/office/drawing/2014/main" id="{A8837216-78CB-432B-919B-1520E37D4CA7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4376738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8AEE0637-0548-4E63-8418-BADEDFCF7766}" type="datetime'''''''''''0''''''''''''''''''''''4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4</a:t>
            </a:fld>
            <a:endParaRPr lang="da-DK" sz="1026">
              <a:sym typeface="+mn-lt"/>
            </a:endParaRPr>
          </a:p>
        </p:txBody>
      </p:sp>
      <p:sp>
        <p:nvSpPr>
          <p:cNvPr id="156" name="Rectangle 268">
            <a:extLst>
              <a:ext uri="{FF2B5EF4-FFF2-40B4-BE49-F238E27FC236}">
                <a16:creationId xmlns:a16="http://schemas.microsoft.com/office/drawing/2014/main" id="{4C06FBE8-8B04-4B0F-93D1-3911958F776A}"/>
              </a:ext>
            </a:extLst>
          </p:cNvPr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4657724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3BBEE49-DCFD-47F9-8C0E-328158D8044B}" type="datetime'''''''''''''''''''0''''''''''''5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5</a:t>
            </a:fld>
            <a:endParaRPr lang="da-DK" sz="1026">
              <a:sym typeface="+mn-lt"/>
            </a:endParaRPr>
          </a:p>
        </p:txBody>
      </p:sp>
      <p:sp>
        <p:nvSpPr>
          <p:cNvPr id="157" name="Rectangle 268">
            <a:extLst>
              <a:ext uri="{FF2B5EF4-FFF2-40B4-BE49-F238E27FC236}">
                <a16:creationId xmlns:a16="http://schemas.microsoft.com/office/drawing/2014/main" id="{9915D747-8B79-4116-92C5-BFA3DF4BC2D8}"/>
              </a:ext>
            </a:extLst>
          </p:cNvPr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938713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1B561BB5-8731-4233-99F6-96C9B36A3269}" type="datetime'''''''''''''''''''''''''''''''''''''''''''''''''''''''0''''6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6</a:t>
            </a:fld>
            <a:endParaRPr lang="da-DK" sz="1026">
              <a:sym typeface="+mn-lt"/>
            </a:endParaRPr>
          </a:p>
        </p:txBody>
      </p:sp>
      <p:sp>
        <p:nvSpPr>
          <p:cNvPr id="158" name="Rectangle 268">
            <a:extLst>
              <a:ext uri="{FF2B5EF4-FFF2-40B4-BE49-F238E27FC236}">
                <a16:creationId xmlns:a16="http://schemas.microsoft.com/office/drawing/2014/main" id="{5746F7BE-8934-4D27-8FE4-A55BAC3E6FB0}"/>
              </a:ext>
            </a:extLst>
          </p:cNvPr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5219700" y="1944688"/>
            <a:ext cx="27940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73D9EAC3-F368-426F-A49E-226F641B905C}" type="datetime'0''''''''''''''''''''''''''''''''''7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7</a:t>
            </a:fld>
            <a:endParaRPr lang="da-DK" sz="1026">
              <a:sym typeface="+mn-lt"/>
            </a:endParaRPr>
          </a:p>
        </p:txBody>
      </p:sp>
      <p:sp>
        <p:nvSpPr>
          <p:cNvPr id="159" name="Rectangle 268">
            <a:extLst>
              <a:ext uri="{FF2B5EF4-FFF2-40B4-BE49-F238E27FC236}">
                <a16:creationId xmlns:a16="http://schemas.microsoft.com/office/drawing/2014/main" id="{6DA848CD-0619-4C60-927D-272DCA5ED0E6}"/>
              </a:ext>
            </a:extLst>
          </p:cNvPr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5499100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32F02DEF-84A2-4102-A762-2EF4B5A32202}" type="datetime'''''0''''''''''''''''''''''8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8</a:t>
            </a:fld>
            <a:endParaRPr lang="da-DK" sz="1026">
              <a:sym typeface="+mn-lt"/>
            </a:endParaRPr>
          </a:p>
        </p:txBody>
      </p:sp>
      <p:sp>
        <p:nvSpPr>
          <p:cNvPr id="160" name="Rectangle 268">
            <a:extLst>
              <a:ext uri="{FF2B5EF4-FFF2-40B4-BE49-F238E27FC236}">
                <a16:creationId xmlns:a16="http://schemas.microsoft.com/office/drawing/2014/main" id="{132FD44B-5F54-4EC3-853B-DB38E6CA02DE}"/>
              </a:ext>
            </a:extLst>
          </p:cNvPr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5780087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96DA3DF0-23B4-47F8-9504-AC73982A9616}" type="datetime'''''''0''''''''''''''''''9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09</a:t>
            </a:fld>
            <a:endParaRPr lang="da-DK" sz="1026">
              <a:sym typeface="+mn-lt"/>
            </a:endParaRPr>
          </a:p>
        </p:txBody>
      </p:sp>
      <p:sp>
        <p:nvSpPr>
          <p:cNvPr id="161" name="Rectangle 268">
            <a:extLst>
              <a:ext uri="{FF2B5EF4-FFF2-40B4-BE49-F238E27FC236}">
                <a16:creationId xmlns:a16="http://schemas.microsoft.com/office/drawing/2014/main" id="{D06036DC-8D43-48CC-AFB0-ABC30B97797B}"/>
              </a:ext>
            </a:extLst>
          </p:cNvPr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061075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FFB110BD-363D-46B5-AB32-BDA256415A62}" type="datetime'1''''''''''''''''0''''''''''''''''''''''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0</a:t>
            </a:fld>
            <a:endParaRPr lang="da-DK" sz="1026">
              <a:sym typeface="+mn-lt"/>
            </a:endParaRPr>
          </a:p>
        </p:txBody>
      </p:sp>
      <p:sp>
        <p:nvSpPr>
          <p:cNvPr id="162" name="Rectangle 268">
            <a:extLst>
              <a:ext uri="{FF2B5EF4-FFF2-40B4-BE49-F238E27FC236}">
                <a16:creationId xmlns:a16="http://schemas.microsoft.com/office/drawing/2014/main" id="{D98D063E-49D9-4990-ACC7-F5FDCB3848DF}"/>
              </a:ext>
            </a:extLst>
          </p:cNvPr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342063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AE02887A-252F-45CD-AE8A-CF145563584D}" type="datetime'''''''''''''''''''''''''''''''''''''1''''''1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1</a:t>
            </a:fld>
            <a:endParaRPr lang="da-DK" sz="1026">
              <a:sym typeface="+mn-lt"/>
            </a:endParaRPr>
          </a:p>
        </p:txBody>
      </p:sp>
      <p:sp>
        <p:nvSpPr>
          <p:cNvPr id="163" name="Rectangle 268">
            <a:extLst>
              <a:ext uri="{FF2B5EF4-FFF2-40B4-BE49-F238E27FC236}">
                <a16:creationId xmlns:a16="http://schemas.microsoft.com/office/drawing/2014/main" id="{7A6AD977-E312-4A73-B76A-20513EF24537}"/>
              </a:ext>
            </a:extLst>
          </p:cNvPr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6623050" y="1944688"/>
            <a:ext cx="279400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4C9FDB97-798E-4EDD-96E8-E052FF1E8271}" type="datetime'''1''''''2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2</a:t>
            </a:fld>
            <a:endParaRPr lang="da-DK" sz="1026">
              <a:sym typeface="+mn-lt"/>
            </a:endParaRPr>
          </a:p>
        </p:txBody>
      </p:sp>
      <p:sp>
        <p:nvSpPr>
          <p:cNvPr id="164" name="Rectangle 268">
            <a:extLst>
              <a:ext uri="{FF2B5EF4-FFF2-40B4-BE49-F238E27FC236}">
                <a16:creationId xmlns:a16="http://schemas.microsoft.com/office/drawing/2014/main" id="{DD523785-D920-4548-8118-D3FC5451FB4C}"/>
              </a:ext>
            </a:extLst>
          </p:cNvPr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6902449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88A31C6B-D6A4-4AB1-A3AC-479B7098B937}" type="datetime'''''''''''''''''''''''''1''''''''''''''''''''''''''''3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3</a:t>
            </a:fld>
            <a:endParaRPr lang="da-DK" sz="1026">
              <a:sym typeface="+mn-lt"/>
            </a:endParaRPr>
          </a:p>
        </p:txBody>
      </p:sp>
      <p:sp>
        <p:nvSpPr>
          <p:cNvPr id="165" name="Rectangle 268">
            <a:extLst>
              <a:ext uri="{FF2B5EF4-FFF2-40B4-BE49-F238E27FC236}">
                <a16:creationId xmlns:a16="http://schemas.microsoft.com/office/drawing/2014/main" id="{51A9F5FF-0051-4369-9F05-77544B44B055}"/>
              </a:ext>
            </a:extLst>
          </p:cNvPr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7183438" y="1944688"/>
            <a:ext cx="280988" cy="2032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23813" rIns="0" bIns="23813" anchor="ctr"/>
          <a:lstStyle/>
          <a:p>
            <a:pPr algn="ct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fld id="{4234CCE0-2D10-4521-A9EB-AC06BD566067}" type="datetime'''''1''''''''''''''''''''''''''''''''4'''''''''''''">
              <a:rPr lang="da-DK" altLang="en-US" sz="1026" smtClean="0">
                <a:sym typeface="+mn-lt"/>
              </a:rPr>
              <a:pPr algn="ctr" defTabSz="910540" fontAlgn="base">
                <a:spcBef>
                  <a:spcPct val="0"/>
                </a:spcBef>
                <a:spcAft>
                  <a:spcPct val="0"/>
                </a:spcAft>
                <a:buSzPct val="120000"/>
              </a:pPr>
              <a:t>14</a:t>
            </a:fld>
            <a:endParaRPr lang="da-DK" sz="1026">
              <a:sym typeface="+mn-lt"/>
            </a:endParaRPr>
          </a:p>
        </p:txBody>
      </p:sp>
      <p:cxnSp>
        <p:nvCxnSpPr>
          <p:cNvPr id="178" name="Lige forbindelse 177">
            <a:extLst>
              <a:ext uri="{FF2B5EF4-FFF2-40B4-BE49-F238E27FC236}">
                <a16:creationId xmlns:a16="http://schemas.microsoft.com/office/drawing/2014/main" id="{19F668E7-A92B-4048-9C77-445A5EF4828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7264400" y="2147888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Lige forbindelse 176">
            <a:extLst>
              <a:ext uri="{FF2B5EF4-FFF2-40B4-BE49-F238E27FC236}">
                <a16:creationId xmlns:a16="http://schemas.microsoft.com/office/drawing/2014/main" id="{B737C924-F638-4805-A93A-65C37F308DC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auto">
          <a:xfrm>
            <a:off x="6021388" y="2147888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Lige forbindelse 174">
            <a:extLst>
              <a:ext uri="{FF2B5EF4-FFF2-40B4-BE49-F238E27FC236}">
                <a16:creationId xmlns:a16="http://schemas.microsoft.com/office/drawing/2014/main" id="{D55E05BC-0E91-49F6-AAE4-FAD140BD0D19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614738" y="2147888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Line 410"/>
          <p:cNvSpPr>
            <a:spLocks noChangeShapeType="1"/>
          </p:cNvSpPr>
          <p:nvPr>
            <p:custDataLst>
              <p:tags r:id="rId31"/>
            </p:custDataLst>
          </p:nvPr>
        </p:nvSpPr>
        <p:spPr bwMode="auto">
          <a:xfrm>
            <a:off x="8750300" y="2147888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0" name="Line 409"/>
          <p:cNvSpPr>
            <a:spLocks noChangeShapeType="1"/>
          </p:cNvSpPr>
          <p:nvPr>
            <p:custDataLst>
              <p:tags r:id="rId32"/>
            </p:custDataLst>
          </p:nvPr>
        </p:nvSpPr>
        <p:spPr bwMode="auto">
          <a:xfrm>
            <a:off x="395288" y="2147888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1" name="Line 594"/>
          <p:cNvSpPr>
            <a:spLocks noChangeShapeType="1"/>
          </p:cNvSpPr>
          <p:nvPr>
            <p:custDataLst>
              <p:tags r:id="rId33"/>
            </p:custDataLst>
          </p:nvPr>
        </p:nvSpPr>
        <p:spPr bwMode="auto">
          <a:xfrm>
            <a:off x="7464425" y="2147888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2" name="Line 406"/>
          <p:cNvSpPr>
            <a:spLocks noChangeShapeType="1"/>
          </p:cNvSpPr>
          <p:nvPr>
            <p:custDataLst>
              <p:tags r:id="rId34"/>
            </p:custDataLst>
          </p:nvPr>
        </p:nvSpPr>
        <p:spPr bwMode="auto">
          <a:xfrm>
            <a:off x="2973388" y="2147888"/>
            <a:ext cx="0" cy="35544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cxnSp>
        <p:nvCxnSpPr>
          <p:cNvPr id="176" name="Lige forbindelse 175">
            <a:extLst>
              <a:ext uri="{FF2B5EF4-FFF2-40B4-BE49-F238E27FC236}">
                <a16:creationId xmlns:a16="http://schemas.microsoft.com/office/drawing/2014/main" id="{C22435EF-2023-44CF-A45D-6AF3AF4D9AA5}"/>
              </a:ext>
            </a:extLst>
          </p:cNvPr>
          <p:cNvCxnSpPr/>
          <p:nvPr>
            <p:custDataLst>
              <p:tags r:id="rId35"/>
            </p:custDataLst>
          </p:nvPr>
        </p:nvCxnSpPr>
        <p:spPr bwMode="auto">
          <a:xfrm>
            <a:off x="4857750" y="2147888"/>
            <a:ext cx="0" cy="3554413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36"/>
            </p:custDataLst>
          </p:nvPr>
        </p:nvCxnSpPr>
        <p:spPr bwMode="auto">
          <a:xfrm>
            <a:off x="395288" y="4086225"/>
            <a:ext cx="8355013" cy="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Line 408"/>
          <p:cNvSpPr>
            <a:spLocks noChangeShapeType="1"/>
          </p:cNvSpPr>
          <p:nvPr>
            <p:custDataLst>
              <p:tags r:id="rId37"/>
            </p:custDataLst>
          </p:nvPr>
        </p:nvSpPr>
        <p:spPr bwMode="auto">
          <a:xfrm>
            <a:off x="395288" y="5702300"/>
            <a:ext cx="8355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59" name="Line 407"/>
          <p:cNvSpPr>
            <a:spLocks noChangeShapeType="1"/>
          </p:cNvSpPr>
          <p:nvPr>
            <p:custDataLst>
              <p:tags r:id="rId38"/>
            </p:custDataLst>
          </p:nvPr>
        </p:nvSpPr>
        <p:spPr bwMode="auto">
          <a:xfrm>
            <a:off x="395288" y="2147888"/>
            <a:ext cx="835501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noFill/>
              </a14:hiddenFill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33520" tIns="33520" rIns="33520" bIns="33520" anchor="ctr">
            <a:no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buSzPct val="120000"/>
            </a:pPr>
            <a:endParaRPr lang="en-GB" sz="941">
              <a:solidFill>
                <a:srgbClr val="000000"/>
              </a:solidFill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E3CE71E1-7D5D-48E6-9948-761F0DBF904C}"/>
              </a:ext>
            </a:extLst>
          </p:cNvPr>
          <p:cNvSpPr/>
          <p:nvPr>
            <p:custDataLst>
              <p:tags r:id="rId39"/>
            </p:custDataLst>
          </p:nvPr>
        </p:nvSpPr>
        <p:spPr bwMode="gray">
          <a:xfrm>
            <a:off x="4657725" y="5414963"/>
            <a:ext cx="1122363" cy="79375"/>
          </a:xfrm>
          <a:prstGeom prst="rect">
            <a:avLst/>
          </a:prstGeom>
          <a:solidFill>
            <a:schemeClr val="tx2"/>
          </a:solidFill>
          <a:ln w="19050" cap="flat" cmpd="sng" algn="ctr">
            <a:solidFill>
              <a:schemeClr val="tx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8" name="Pil: højre 77">
            <a:extLst>
              <a:ext uri="{FF2B5EF4-FFF2-40B4-BE49-F238E27FC236}">
                <a16:creationId xmlns:a16="http://schemas.microsoft.com/office/drawing/2014/main" id="{FF16E526-FDF3-4130-9960-FE9B319AEAAB}"/>
              </a:ext>
            </a:extLst>
          </p:cNvPr>
          <p:cNvSpPr/>
          <p:nvPr>
            <p:custDataLst>
              <p:tags r:id="rId40"/>
            </p:custDataLst>
          </p:nvPr>
        </p:nvSpPr>
        <p:spPr bwMode="gray">
          <a:xfrm>
            <a:off x="6542088" y="4464050"/>
            <a:ext cx="1023938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2" name="Rektangel 41">
            <a:extLst>
              <a:ext uri="{FF2B5EF4-FFF2-40B4-BE49-F238E27FC236}">
                <a16:creationId xmlns:a16="http://schemas.microsoft.com/office/drawing/2014/main" id="{92B1AE0E-081A-4365-9C3D-37F353486181}"/>
              </a:ext>
            </a:extLst>
          </p:cNvPr>
          <p:cNvSpPr/>
          <p:nvPr>
            <p:custDataLst>
              <p:tags r:id="rId41"/>
            </p:custDataLst>
          </p:nvPr>
        </p:nvSpPr>
        <p:spPr bwMode="gray">
          <a:xfrm>
            <a:off x="4056062" y="2720975"/>
            <a:ext cx="2286000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5" name="Rektangel 74">
            <a:extLst>
              <a:ext uri="{FF2B5EF4-FFF2-40B4-BE49-F238E27FC236}">
                <a16:creationId xmlns:a16="http://schemas.microsoft.com/office/drawing/2014/main" id="{D7B72AA0-8680-4559-9D44-2EDB3D5C5E6C}"/>
              </a:ext>
            </a:extLst>
          </p:cNvPr>
          <p:cNvSpPr/>
          <p:nvPr>
            <p:custDataLst>
              <p:tags r:id="rId42"/>
            </p:custDataLst>
          </p:nvPr>
        </p:nvSpPr>
        <p:spPr bwMode="gray">
          <a:xfrm>
            <a:off x="6021387" y="4503738"/>
            <a:ext cx="520700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5" name="Pil: højre 54">
            <a:extLst>
              <a:ext uri="{FF2B5EF4-FFF2-40B4-BE49-F238E27FC236}">
                <a16:creationId xmlns:a16="http://schemas.microsoft.com/office/drawing/2014/main" id="{4A1A821A-B781-44F7-AD4D-60819FF57DFE}"/>
              </a:ext>
            </a:extLst>
          </p:cNvPr>
          <p:cNvSpPr/>
          <p:nvPr>
            <p:custDataLst>
              <p:tags r:id="rId43"/>
            </p:custDataLst>
          </p:nvPr>
        </p:nvSpPr>
        <p:spPr bwMode="gray">
          <a:xfrm>
            <a:off x="6462713" y="2965450"/>
            <a:ext cx="1103313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1" name="Pil: venstre 40">
            <a:extLst>
              <a:ext uri="{FF2B5EF4-FFF2-40B4-BE49-F238E27FC236}">
                <a16:creationId xmlns:a16="http://schemas.microsoft.com/office/drawing/2014/main" id="{8CEBEC65-DA15-4A07-8766-B8605DF5D174}"/>
              </a:ext>
            </a:extLst>
          </p:cNvPr>
          <p:cNvSpPr/>
          <p:nvPr>
            <p:custDataLst>
              <p:tags r:id="rId44"/>
            </p:custDataLst>
          </p:nvPr>
        </p:nvSpPr>
        <p:spPr bwMode="gray">
          <a:xfrm>
            <a:off x="2871788" y="2681288"/>
            <a:ext cx="1184275" cy="158750"/>
          </a:xfrm>
          <a:prstGeom prst="leftArrow">
            <a:avLst>
              <a:gd name="adj1" fmla="val 50000"/>
              <a:gd name="adj2" fmla="val 40657"/>
            </a:avLst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4" name="Rektangel 53">
            <a:extLst>
              <a:ext uri="{FF2B5EF4-FFF2-40B4-BE49-F238E27FC236}">
                <a16:creationId xmlns:a16="http://schemas.microsoft.com/office/drawing/2014/main" id="{888909EC-CA2A-4746-B676-3FED9DD5C396}"/>
              </a:ext>
            </a:extLst>
          </p:cNvPr>
          <p:cNvSpPr/>
          <p:nvPr>
            <p:custDataLst>
              <p:tags r:id="rId45"/>
            </p:custDataLst>
          </p:nvPr>
        </p:nvSpPr>
        <p:spPr bwMode="gray">
          <a:xfrm>
            <a:off x="6021388" y="3005138"/>
            <a:ext cx="441325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2" name="Rektangel 61">
            <a:extLst>
              <a:ext uri="{FF2B5EF4-FFF2-40B4-BE49-F238E27FC236}">
                <a16:creationId xmlns:a16="http://schemas.microsoft.com/office/drawing/2014/main" id="{D6B3992C-B8A9-4E14-9E9D-1AE7447B07DF}"/>
              </a:ext>
            </a:extLst>
          </p:cNvPr>
          <p:cNvSpPr/>
          <p:nvPr>
            <p:custDataLst>
              <p:tags r:id="rId46"/>
            </p:custDataLst>
          </p:nvPr>
        </p:nvSpPr>
        <p:spPr bwMode="gray">
          <a:xfrm>
            <a:off x="5018088" y="3292475"/>
            <a:ext cx="1042988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0" name="Rektangel 69">
            <a:extLst>
              <a:ext uri="{FF2B5EF4-FFF2-40B4-BE49-F238E27FC236}">
                <a16:creationId xmlns:a16="http://schemas.microsoft.com/office/drawing/2014/main" id="{4FFB6F03-CB31-4673-BA3F-4D64CECE4E69}"/>
              </a:ext>
            </a:extLst>
          </p:cNvPr>
          <p:cNvSpPr/>
          <p:nvPr>
            <p:custDataLst>
              <p:tags r:id="rId47"/>
            </p:custDataLst>
          </p:nvPr>
        </p:nvSpPr>
        <p:spPr bwMode="gray">
          <a:xfrm>
            <a:off x="4737100" y="3865563"/>
            <a:ext cx="1604963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73" name="Rektangel 172">
            <a:extLst>
              <a:ext uri="{FF2B5EF4-FFF2-40B4-BE49-F238E27FC236}">
                <a16:creationId xmlns:a16="http://schemas.microsoft.com/office/drawing/2014/main" id="{F845A725-AAED-4A71-87EE-E833C5C3554A}"/>
              </a:ext>
            </a:extLst>
          </p:cNvPr>
          <p:cNvSpPr/>
          <p:nvPr>
            <p:custDataLst>
              <p:tags r:id="rId48"/>
            </p:custDataLst>
          </p:nvPr>
        </p:nvSpPr>
        <p:spPr bwMode="gray">
          <a:xfrm>
            <a:off x="4618038" y="5364163"/>
            <a:ext cx="2605088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71" name="Rektangel 170">
            <a:extLst>
              <a:ext uri="{FF2B5EF4-FFF2-40B4-BE49-F238E27FC236}">
                <a16:creationId xmlns:a16="http://schemas.microsoft.com/office/drawing/2014/main" id="{C0737E13-6A8A-41E6-89B1-2AB642A2C5B6}"/>
              </a:ext>
            </a:extLst>
          </p:cNvPr>
          <p:cNvSpPr/>
          <p:nvPr>
            <p:custDataLst>
              <p:tags r:id="rId49"/>
            </p:custDataLst>
          </p:nvPr>
        </p:nvSpPr>
        <p:spPr bwMode="gray">
          <a:xfrm>
            <a:off x="4938713" y="5076825"/>
            <a:ext cx="2511425" cy="79375"/>
          </a:xfrm>
          <a:prstGeom prst="rect">
            <a:avLst/>
          </a:prstGeom>
          <a:solidFill>
            <a:schemeClr val="bg2"/>
          </a:solidFill>
          <a:ln w="19050" cap="flat" cmpd="sng" algn="ctr">
            <a:solidFill>
              <a:schemeClr val="bg2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70" name="Rektangel 169">
            <a:extLst>
              <a:ext uri="{FF2B5EF4-FFF2-40B4-BE49-F238E27FC236}">
                <a16:creationId xmlns:a16="http://schemas.microsoft.com/office/drawing/2014/main" id="{CA15974F-378D-4806-9D06-34EC564ADE7B}"/>
              </a:ext>
            </a:extLst>
          </p:cNvPr>
          <p:cNvSpPr/>
          <p:nvPr>
            <p:custDataLst>
              <p:tags r:id="rId50"/>
            </p:custDataLst>
          </p:nvPr>
        </p:nvSpPr>
        <p:spPr bwMode="gray">
          <a:xfrm>
            <a:off x="3614738" y="5076825"/>
            <a:ext cx="1323975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1" name="Rektangel 60">
            <a:extLst>
              <a:ext uri="{FF2B5EF4-FFF2-40B4-BE49-F238E27FC236}">
                <a16:creationId xmlns:a16="http://schemas.microsoft.com/office/drawing/2014/main" id="{79479CE0-3345-48BA-98EB-F295FF362CA0}"/>
              </a:ext>
            </a:extLst>
          </p:cNvPr>
          <p:cNvSpPr/>
          <p:nvPr>
            <p:custDataLst>
              <p:tags r:id="rId51"/>
            </p:custDataLst>
          </p:nvPr>
        </p:nvSpPr>
        <p:spPr bwMode="gray">
          <a:xfrm>
            <a:off x="4618038" y="3292475"/>
            <a:ext cx="360363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72" name="Rektangel 171">
            <a:extLst>
              <a:ext uri="{FF2B5EF4-FFF2-40B4-BE49-F238E27FC236}">
                <a16:creationId xmlns:a16="http://schemas.microsoft.com/office/drawing/2014/main" id="{5BFF2386-820B-4370-BE10-87DF0742B602}"/>
              </a:ext>
            </a:extLst>
          </p:cNvPr>
          <p:cNvSpPr/>
          <p:nvPr>
            <p:custDataLst>
              <p:tags r:id="rId52"/>
            </p:custDataLst>
          </p:nvPr>
        </p:nvSpPr>
        <p:spPr bwMode="gray">
          <a:xfrm>
            <a:off x="4056063" y="5364163"/>
            <a:ext cx="561975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6" name="Pil: højre 65">
            <a:extLst>
              <a:ext uri="{FF2B5EF4-FFF2-40B4-BE49-F238E27FC236}">
                <a16:creationId xmlns:a16="http://schemas.microsoft.com/office/drawing/2014/main" id="{D5ABF0E8-82B3-4BB9-B4D6-EEE939A22A8E}"/>
              </a:ext>
            </a:extLst>
          </p:cNvPr>
          <p:cNvSpPr/>
          <p:nvPr>
            <p:custDataLst>
              <p:tags r:id="rId53"/>
            </p:custDataLst>
          </p:nvPr>
        </p:nvSpPr>
        <p:spPr bwMode="gray">
          <a:xfrm>
            <a:off x="3614737" y="3538538"/>
            <a:ext cx="3951288" cy="158750"/>
          </a:xfrm>
          <a:prstGeom prst="rightArrow">
            <a:avLst>
              <a:gd name="adj1" fmla="val 50000"/>
              <a:gd name="adj2" fmla="val 40657"/>
            </a:avLst>
          </a:prstGeom>
          <a:solidFill>
            <a:schemeClr val="accent1"/>
          </a:solidFill>
          <a:ln w="19050" cap="flat" cmpd="sng" algn="ctr">
            <a:solidFill>
              <a:schemeClr val="accent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9" name="Rektangel 68">
            <a:extLst>
              <a:ext uri="{FF2B5EF4-FFF2-40B4-BE49-F238E27FC236}">
                <a16:creationId xmlns:a16="http://schemas.microsoft.com/office/drawing/2014/main" id="{26A6331F-E78E-4062-AC8A-BA5AB05427CC}"/>
              </a:ext>
            </a:extLst>
          </p:cNvPr>
          <p:cNvSpPr/>
          <p:nvPr>
            <p:custDataLst>
              <p:tags r:id="rId54"/>
            </p:custDataLst>
          </p:nvPr>
        </p:nvSpPr>
        <p:spPr bwMode="gray">
          <a:xfrm>
            <a:off x="4056062" y="3865563"/>
            <a:ext cx="681038" cy="79375"/>
          </a:xfrm>
          <a:prstGeom prst="rect">
            <a:avLst/>
          </a:prstGeom>
          <a:solidFill>
            <a:schemeClr val="accent6"/>
          </a:solidFill>
          <a:ln w="19050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3" name="Rombe 52">
            <a:extLst>
              <a:ext uri="{FF2B5EF4-FFF2-40B4-BE49-F238E27FC236}">
                <a16:creationId xmlns:a16="http://schemas.microsoft.com/office/drawing/2014/main" id="{49D69130-A78F-4621-A6D0-10F3BC3C13A3}"/>
              </a:ext>
            </a:extLst>
          </p:cNvPr>
          <p:cNvSpPr/>
          <p:nvPr>
            <p:custDataLst>
              <p:tags r:id="rId55"/>
            </p:custDataLst>
          </p:nvPr>
        </p:nvSpPr>
        <p:spPr bwMode="gray">
          <a:xfrm>
            <a:off x="6284913" y="27035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" name="Rombe 3">
            <a:extLst>
              <a:ext uri="{FF2B5EF4-FFF2-40B4-BE49-F238E27FC236}">
                <a16:creationId xmlns:a16="http://schemas.microsoft.com/office/drawing/2014/main" id="{57D22601-BF98-47E6-A030-42935FBCC046}"/>
              </a:ext>
            </a:extLst>
          </p:cNvPr>
          <p:cNvSpPr/>
          <p:nvPr>
            <p:custDataLst>
              <p:tags r:id="rId56"/>
            </p:custDataLst>
          </p:nvPr>
        </p:nvSpPr>
        <p:spPr bwMode="gray">
          <a:xfrm>
            <a:off x="7165975" y="53467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4" name="Rombe 63">
            <a:extLst>
              <a:ext uri="{FF2B5EF4-FFF2-40B4-BE49-F238E27FC236}">
                <a16:creationId xmlns:a16="http://schemas.microsoft.com/office/drawing/2014/main" id="{F446F93A-320F-4FC5-80B3-7C957A70A4FB}"/>
              </a:ext>
            </a:extLst>
          </p:cNvPr>
          <p:cNvSpPr/>
          <p:nvPr>
            <p:custDataLst>
              <p:tags r:id="rId57"/>
            </p:custDataLst>
          </p:nvPr>
        </p:nvSpPr>
        <p:spPr bwMode="gray">
          <a:xfrm>
            <a:off x="6003925" y="32750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2" name="Rombe 71">
            <a:extLst>
              <a:ext uri="{FF2B5EF4-FFF2-40B4-BE49-F238E27FC236}">
                <a16:creationId xmlns:a16="http://schemas.microsoft.com/office/drawing/2014/main" id="{26F0CD7C-7BA1-4686-8E9B-F1B246DB7958}"/>
              </a:ext>
            </a:extLst>
          </p:cNvPr>
          <p:cNvSpPr/>
          <p:nvPr>
            <p:custDataLst>
              <p:tags r:id="rId58"/>
            </p:custDataLst>
          </p:nvPr>
        </p:nvSpPr>
        <p:spPr bwMode="gray">
          <a:xfrm>
            <a:off x="6324600" y="38481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58" name="Rombe 57">
            <a:extLst>
              <a:ext uri="{FF2B5EF4-FFF2-40B4-BE49-F238E27FC236}">
                <a16:creationId xmlns:a16="http://schemas.microsoft.com/office/drawing/2014/main" id="{003F06FC-3D1A-4D4F-8EA5-54C7ED5271D7}"/>
              </a:ext>
            </a:extLst>
          </p:cNvPr>
          <p:cNvSpPr/>
          <p:nvPr>
            <p:custDataLst>
              <p:tags r:id="rId59"/>
            </p:custDataLst>
          </p:nvPr>
        </p:nvSpPr>
        <p:spPr bwMode="gray">
          <a:xfrm>
            <a:off x="6405563" y="298767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93" name="Rombe 92">
            <a:extLst>
              <a:ext uri="{FF2B5EF4-FFF2-40B4-BE49-F238E27FC236}">
                <a16:creationId xmlns:a16="http://schemas.microsoft.com/office/drawing/2014/main" id="{0A61C69B-D726-45E8-A4C8-87C95E283ABA}"/>
              </a:ext>
            </a:extLst>
          </p:cNvPr>
          <p:cNvSpPr/>
          <p:nvPr>
            <p:custDataLst>
              <p:tags r:id="rId60"/>
            </p:custDataLst>
          </p:nvPr>
        </p:nvSpPr>
        <p:spPr bwMode="gray">
          <a:xfrm>
            <a:off x="6484938" y="4486275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43" name="Rombe 42">
            <a:extLst>
              <a:ext uri="{FF2B5EF4-FFF2-40B4-BE49-F238E27FC236}">
                <a16:creationId xmlns:a16="http://schemas.microsoft.com/office/drawing/2014/main" id="{7AB73A8E-EF18-4A58-BB8F-D50971CF0A67}"/>
              </a:ext>
            </a:extLst>
          </p:cNvPr>
          <p:cNvSpPr/>
          <p:nvPr>
            <p:custDataLst>
              <p:tags r:id="rId61"/>
            </p:custDataLst>
          </p:nvPr>
        </p:nvSpPr>
        <p:spPr bwMode="gray">
          <a:xfrm>
            <a:off x="3998913" y="27035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71" name="Rombe 70">
            <a:extLst>
              <a:ext uri="{FF2B5EF4-FFF2-40B4-BE49-F238E27FC236}">
                <a16:creationId xmlns:a16="http://schemas.microsoft.com/office/drawing/2014/main" id="{8C56F13F-DBDB-4B7F-A64E-0592AFCDA4DC}"/>
              </a:ext>
            </a:extLst>
          </p:cNvPr>
          <p:cNvSpPr/>
          <p:nvPr>
            <p:custDataLst>
              <p:tags r:id="rId62"/>
            </p:custDataLst>
          </p:nvPr>
        </p:nvSpPr>
        <p:spPr bwMode="gray">
          <a:xfrm>
            <a:off x="4679950" y="38481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2" name="Rombe 1">
            <a:extLst>
              <a:ext uri="{FF2B5EF4-FFF2-40B4-BE49-F238E27FC236}">
                <a16:creationId xmlns:a16="http://schemas.microsoft.com/office/drawing/2014/main" id="{21FDC1CA-B25D-4FF7-B7F9-E9D46C5E1DA2}"/>
              </a:ext>
            </a:extLst>
          </p:cNvPr>
          <p:cNvSpPr/>
          <p:nvPr>
            <p:custDataLst>
              <p:tags r:id="rId63"/>
            </p:custDataLst>
          </p:nvPr>
        </p:nvSpPr>
        <p:spPr bwMode="gray">
          <a:xfrm>
            <a:off x="4881563" y="505936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63" name="Rombe 62">
            <a:extLst>
              <a:ext uri="{FF2B5EF4-FFF2-40B4-BE49-F238E27FC236}">
                <a16:creationId xmlns:a16="http://schemas.microsoft.com/office/drawing/2014/main" id="{69E49107-CCB0-491C-9D0A-EECB16132276}"/>
              </a:ext>
            </a:extLst>
          </p:cNvPr>
          <p:cNvSpPr/>
          <p:nvPr>
            <p:custDataLst>
              <p:tags r:id="rId64"/>
            </p:custDataLst>
          </p:nvPr>
        </p:nvSpPr>
        <p:spPr bwMode="gray">
          <a:xfrm>
            <a:off x="4921250" y="3275013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174" name="Rombe 173">
            <a:extLst>
              <a:ext uri="{FF2B5EF4-FFF2-40B4-BE49-F238E27FC236}">
                <a16:creationId xmlns:a16="http://schemas.microsoft.com/office/drawing/2014/main" id="{60446C01-743B-4E42-BDB9-9F996D640D3D}"/>
              </a:ext>
            </a:extLst>
          </p:cNvPr>
          <p:cNvSpPr/>
          <p:nvPr>
            <p:custDataLst>
              <p:tags r:id="rId65"/>
            </p:custDataLst>
          </p:nvPr>
        </p:nvSpPr>
        <p:spPr bwMode="gray">
          <a:xfrm>
            <a:off x="4560888" y="5346700"/>
            <a:ext cx="114300" cy="114300"/>
          </a:xfrm>
          <a:prstGeom prst="diamond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da-DK" sz="1600" dirty="0" err="1"/>
          </a:p>
        </p:txBody>
      </p:sp>
      <p:sp>
        <p:nvSpPr>
          <p:cNvPr id="99" name="Rectangle 377"/>
          <p:cNvSpPr>
            <a:spLocks noChangeArrowheads="1"/>
          </p:cNvSpPr>
          <p:nvPr>
            <p:custDataLst>
              <p:tags r:id="rId66"/>
            </p:custDataLst>
          </p:nvPr>
        </p:nvSpPr>
        <p:spPr bwMode="auto">
          <a:xfrm>
            <a:off x="455614" y="2689225"/>
            <a:ext cx="182086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00" dirty="0">
                <a:latin typeface="Arial Narrow" panose="020B0606020202030204" pitchFamily="34" charset="0"/>
                <a:sym typeface="+mn-lt"/>
              </a:rPr>
              <a:t>C2_1 </a:t>
            </a:r>
            <a:r>
              <a:rPr lang="da-DK" sz="1000" dirty="0" err="1">
                <a:latin typeface="Arial Narrow" panose="020B0606020202030204" pitchFamily="34" charset="0"/>
                <a:sym typeface="+mn-lt"/>
              </a:rPr>
              <a:t>Governance</a:t>
            </a:r>
            <a:r>
              <a:rPr lang="da-DK" sz="1000" dirty="0">
                <a:latin typeface="Arial Narrow" panose="020B0606020202030204" pitchFamily="34" charset="0"/>
                <a:sym typeface="+mn-lt"/>
              </a:rPr>
              <a:t>- og beslutningsfora	</a:t>
            </a:r>
          </a:p>
        </p:txBody>
      </p:sp>
      <p:sp>
        <p:nvSpPr>
          <p:cNvPr id="107" name="Text Placeholder 2">
            <a:extLst>
              <a:ext uri="{FF2B5EF4-FFF2-40B4-BE49-F238E27FC236}">
                <a16:creationId xmlns:a16="http://schemas.microsoft.com/office/drawing/2014/main" id="{24D78B32-E4E2-4801-B16E-6B3821D00E41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7626350" y="3832225"/>
            <a:ext cx="25400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28.1.</a:t>
            </a:r>
            <a:endParaRPr lang="da-DK" altLang="en-US" sz="900" dirty="0">
              <a:sym typeface="+mn-lt"/>
            </a:endParaRPr>
          </a:p>
        </p:txBody>
      </p:sp>
      <p:sp>
        <p:nvSpPr>
          <p:cNvPr id="98" name="Rectangle 378"/>
          <p:cNvSpPr>
            <a:spLocks noChangeArrowheads="1"/>
          </p:cNvSpPr>
          <p:nvPr>
            <p:custDataLst>
              <p:tags r:id="rId68"/>
            </p:custDataLst>
          </p:nvPr>
        </p:nvSpPr>
        <p:spPr bwMode="auto">
          <a:xfrm>
            <a:off x="455613" y="4184650"/>
            <a:ext cx="869950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SPOR C3 </a:t>
            </a:r>
            <a:r>
              <a:rPr lang="da-DK" sz="1026" b="1" err="1">
                <a:sym typeface="+mn-lt"/>
              </a:rPr>
              <a:t>CoE</a:t>
            </a:r>
            <a:endParaRPr lang="da-DK" sz="1026" b="1">
              <a:sym typeface="+mn-lt"/>
            </a:endParaRPr>
          </a:p>
        </p:txBody>
      </p:sp>
      <p:sp>
        <p:nvSpPr>
          <p:cNvPr id="76" name="Text Placeholder 2">
            <a:extLst>
              <a:ext uri="{FF2B5EF4-FFF2-40B4-BE49-F238E27FC236}">
                <a16:creationId xmlns:a16="http://schemas.microsoft.com/office/drawing/2014/main" id="{3386CE64-6A24-4317-897C-76C6101487AB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7626350" y="4470400"/>
            <a:ext cx="2222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3.3. </a:t>
            </a:r>
          </a:p>
        </p:txBody>
      </p:sp>
      <p:sp>
        <p:nvSpPr>
          <p:cNvPr id="83" name="Rectangle 378">
            <a:extLst>
              <a:ext uri="{FF2B5EF4-FFF2-40B4-BE49-F238E27FC236}">
                <a16:creationId xmlns:a16="http://schemas.microsoft.com/office/drawing/2014/main" id="{DC561CC1-56BE-4C56-9BE2-AB294DDDA14D}"/>
              </a:ext>
            </a:extLst>
          </p:cNvPr>
          <p:cNvSpPr>
            <a:spLocks noChangeArrowheads="1"/>
          </p:cNvSpPr>
          <p:nvPr>
            <p:custDataLst>
              <p:tags r:id="rId70"/>
            </p:custDataLst>
          </p:nvPr>
        </p:nvSpPr>
        <p:spPr bwMode="auto">
          <a:xfrm>
            <a:off x="455613" y="4757738"/>
            <a:ext cx="197961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26" b="1"/>
              <a:t>SPOR C4 Ny Digital </a:t>
            </a:r>
            <a:r>
              <a:rPr lang="da-DK" altLang="en-US" sz="1026" b="1" err="1"/>
              <a:t>Organistion</a:t>
            </a:r>
            <a:endParaRPr lang="da-DK" sz="1026" b="1">
              <a:sym typeface="+mn-lt"/>
            </a:endParaRPr>
          </a:p>
        </p:txBody>
      </p:sp>
      <p:sp>
        <p:nvSpPr>
          <p:cNvPr id="101" name="Rectangle 100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8042275" y="2689225"/>
            <a:ext cx="2603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00" dirty="0" err="1">
                <a:solidFill>
                  <a:schemeClr val="tx1"/>
                </a:solidFill>
                <a:sym typeface="+mn-lt"/>
              </a:rPr>
              <a:t>BRA</a:t>
            </a:r>
            <a:endParaRPr lang="da-DK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9" name="Rectangle 378">
            <a:extLst>
              <a:ext uri="{FF2B5EF4-FFF2-40B4-BE49-F238E27FC236}">
                <a16:creationId xmlns:a16="http://schemas.microsoft.com/office/drawing/2014/main" id="{4283ACDD-EDCB-4EE8-8F3D-8F9E35DF5E51}"/>
              </a:ext>
            </a:extLst>
          </p:cNvPr>
          <p:cNvSpPr>
            <a:spLocks noChangeArrowheads="1"/>
          </p:cNvSpPr>
          <p:nvPr>
            <p:custDataLst>
              <p:tags r:id="rId72"/>
            </p:custDataLst>
          </p:nvPr>
        </p:nvSpPr>
        <p:spPr bwMode="auto">
          <a:xfrm>
            <a:off x="455613" y="3259138"/>
            <a:ext cx="1849438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26" dirty="0">
                <a:latin typeface="Arial Narrow" panose="020B0606020202030204" pitchFamily="34" charset="0"/>
                <a:sym typeface="Arial Narrow" panose="020B0606020202030204" pitchFamily="34" charset="0"/>
              </a:rPr>
              <a:t>C2_3 Systemejerskab og superbrugere</a:t>
            </a:r>
            <a:endParaRPr lang="da-DK" sz="1026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87" name="Rectangle 378">
            <a:extLst>
              <a:ext uri="{FF2B5EF4-FFF2-40B4-BE49-F238E27FC236}">
                <a16:creationId xmlns:a16="http://schemas.microsoft.com/office/drawing/2014/main" id="{64970ABD-BCB8-45F8-B512-E3CAF1B46AAF}"/>
              </a:ext>
            </a:extLst>
          </p:cNvPr>
          <p:cNvSpPr>
            <a:spLocks noChangeArrowheads="1"/>
          </p:cNvSpPr>
          <p:nvPr>
            <p:custDataLst>
              <p:tags r:id="rId73"/>
            </p:custDataLst>
          </p:nvPr>
        </p:nvSpPr>
        <p:spPr bwMode="auto">
          <a:xfrm>
            <a:off x="455613" y="5043488"/>
            <a:ext cx="2025650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26">
                <a:latin typeface="Arial Narrow" panose="020B0606020202030204" pitchFamily="34" charset="0"/>
                <a:sym typeface="Arial Narrow" panose="020B0606020202030204" pitchFamily="34" charset="0"/>
              </a:rPr>
              <a:t>C4_1 Kultur, Plan for nedslag og aktiviteter</a:t>
            </a:r>
            <a:endParaRPr lang="da-DK" sz="1026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462D2E70-D63E-4DDB-9597-2F2EF7005E4B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7626350" y="5043488"/>
            <a:ext cx="2222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1.2. </a:t>
            </a:r>
          </a:p>
        </p:txBody>
      </p:sp>
      <p:sp>
        <p:nvSpPr>
          <p:cNvPr id="82" name="Rectangle 732"/>
          <p:cNvSpPr>
            <a:spLocks noChangeArrowheads="1"/>
          </p:cNvSpPr>
          <p:nvPr>
            <p:custDataLst>
              <p:tags r:id="rId75"/>
            </p:custDataLst>
          </p:nvPr>
        </p:nvSpPr>
        <p:spPr bwMode="auto">
          <a:xfrm>
            <a:off x="2513013" y="1765300"/>
            <a:ext cx="400050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Måned</a:t>
            </a:r>
          </a:p>
        </p:txBody>
      </p:sp>
      <p:sp>
        <p:nvSpPr>
          <p:cNvPr id="89" name="Rectangle 375"/>
          <p:cNvSpPr>
            <a:spLocks noChangeArrowheads="1"/>
          </p:cNvSpPr>
          <p:nvPr>
            <p:custDataLst>
              <p:tags r:id="rId76"/>
            </p:custDataLst>
          </p:nvPr>
        </p:nvSpPr>
        <p:spPr bwMode="auto">
          <a:xfrm>
            <a:off x="455613" y="1968500"/>
            <a:ext cx="11715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ARBEJDSPAKKER</a:t>
            </a:r>
          </a:p>
        </p:txBody>
      </p:sp>
      <p:sp>
        <p:nvSpPr>
          <p:cNvPr id="94" name="Rectangle 378"/>
          <p:cNvSpPr>
            <a:spLocks noChangeArrowheads="1"/>
          </p:cNvSpPr>
          <p:nvPr>
            <p:custDataLst>
              <p:tags r:id="rId77"/>
            </p:custDataLst>
          </p:nvPr>
        </p:nvSpPr>
        <p:spPr bwMode="auto">
          <a:xfrm>
            <a:off x="455613" y="2971800"/>
            <a:ext cx="935038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dirty="0">
                <a:latin typeface="Arial Narrow" panose="020B0606020202030204" pitchFamily="34" charset="0"/>
                <a:sym typeface="Arial Narrow" panose="020B0606020202030204" pitchFamily="34" charset="0"/>
              </a:rPr>
              <a:t>C2_2 Serviceaftaler</a:t>
            </a:r>
          </a:p>
        </p:txBody>
      </p:sp>
      <p:sp>
        <p:nvSpPr>
          <p:cNvPr id="109" name="Rectangle 378">
            <a:extLst>
              <a:ext uri="{FF2B5EF4-FFF2-40B4-BE49-F238E27FC236}">
                <a16:creationId xmlns:a16="http://schemas.microsoft.com/office/drawing/2014/main" id="{67864C92-E7BC-4137-BDA2-6EEA494458BF}"/>
              </a:ext>
            </a:extLst>
          </p:cNvPr>
          <p:cNvSpPr>
            <a:spLocks noChangeArrowheads="1"/>
          </p:cNvSpPr>
          <p:nvPr>
            <p:custDataLst>
              <p:tags r:id="rId78"/>
            </p:custDataLst>
          </p:nvPr>
        </p:nvSpPr>
        <p:spPr bwMode="auto">
          <a:xfrm>
            <a:off x="455612" y="5330825"/>
            <a:ext cx="2355850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26" dirty="0">
                <a:latin typeface="Arial Narrow" panose="020B0606020202030204" pitchFamily="34" charset="0"/>
                <a:sym typeface="Arial Narrow" panose="020B0606020202030204" pitchFamily="34" charset="0"/>
              </a:rPr>
              <a:t>C4_2 Administrative opgaver ifm. ny organisering.</a:t>
            </a:r>
            <a:endParaRPr lang="da-DK" sz="1026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108" name="Rectangle 91">
            <a:extLst>
              <a:ext uri="{FF2B5EF4-FFF2-40B4-BE49-F238E27FC236}">
                <a16:creationId xmlns:a16="http://schemas.microsoft.com/office/drawing/2014/main" id="{47E97768-B90C-4966-B94B-82E759C715DA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8042275" y="5330825"/>
            <a:ext cx="647700" cy="27305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900" dirty="0" err="1">
                <a:solidFill>
                  <a:schemeClr val="tx1"/>
                </a:solidFill>
              </a:rPr>
              <a:t>BRA</a:t>
            </a:r>
            <a:r>
              <a:rPr lang="da-DK" altLang="en-US" sz="900" dirty="0">
                <a:solidFill>
                  <a:schemeClr val="tx1"/>
                </a:solidFill>
              </a:rPr>
              <a:t>/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900" dirty="0">
                <a:solidFill>
                  <a:schemeClr val="tx1"/>
                </a:solidFill>
              </a:rPr>
              <a:t>SDU IT Chef</a:t>
            </a:r>
            <a:endParaRPr lang="da-DK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9171C88B-650E-4CAC-AF59-54B6C82AE85D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7626350" y="1857375"/>
            <a:ext cx="355600" cy="266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800" i="1">
                <a:sym typeface="+mn-lt"/>
              </a:rPr>
              <a:t>Næste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800" i="1">
                <a:sym typeface="+mn-lt"/>
              </a:rPr>
              <a:t>milepæl</a:t>
            </a:r>
            <a:endParaRPr lang="da-DK" sz="800" i="1">
              <a:sym typeface="+mn-lt"/>
            </a:endParaRPr>
          </a:p>
        </p:txBody>
      </p:sp>
      <p:sp>
        <p:nvSpPr>
          <p:cNvPr id="81" name="Rectangle 593"/>
          <p:cNvSpPr>
            <a:spLocks noChangeArrowheads="1"/>
          </p:cNvSpPr>
          <p:nvPr>
            <p:custDataLst>
              <p:tags r:id="rId81"/>
            </p:custDataLst>
          </p:nvPr>
        </p:nvSpPr>
        <p:spPr bwMode="auto">
          <a:xfrm>
            <a:off x="8042275" y="1968500"/>
            <a:ext cx="5365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Ansvarlig</a:t>
            </a:r>
          </a:p>
        </p:txBody>
      </p:sp>
      <p:sp>
        <p:nvSpPr>
          <p:cNvPr id="100" name="Rectangle 378"/>
          <p:cNvSpPr>
            <a:spLocks noChangeArrowheads="1"/>
          </p:cNvSpPr>
          <p:nvPr>
            <p:custDataLst>
              <p:tags r:id="rId82"/>
            </p:custDataLst>
          </p:nvPr>
        </p:nvSpPr>
        <p:spPr bwMode="auto">
          <a:xfrm>
            <a:off x="455614" y="4470400"/>
            <a:ext cx="135096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t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dirty="0">
                <a:latin typeface="Arial Narrow" panose="020B0606020202030204" pitchFamily="34" charset="0"/>
                <a:sym typeface="Arial Narrow" panose="020B0606020202030204" pitchFamily="34" charset="0"/>
              </a:rPr>
              <a:t>C3_1 Konkrete CoE afklares</a:t>
            </a:r>
          </a:p>
        </p:txBody>
      </p:sp>
      <p:sp>
        <p:nvSpPr>
          <p:cNvPr id="80" name="Rectangle 94">
            <a:extLst>
              <a:ext uri="{FF2B5EF4-FFF2-40B4-BE49-F238E27FC236}">
                <a16:creationId xmlns:a16="http://schemas.microsoft.com/office/drawing/2014/main" id="{2404E632-0F81-4303-9A26-4B708B08D99B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8042275" y="3259139"/>
            <a:ext cx="609600" cy="1365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900" dirty="0" err="1">
                <a:solidFill>
                  <a:schemeClr val="tx1"/>
                </a:solidFill>
              </a:rPr>
              <a:t>KGN</a:t>
            </a:r>
            <a:r>
              <a:rPr lang="da-DK" altLang="en-US" sz="900" dirty="0">
                <a:solidFill>
                  <a:schemeClr val="tx1"/>
                </a:solidFill>
              </a:rPr>
              <a:t> </a:t>
            </a:r>
            <a:r>
              <a:rPr lang="da-DK" altLang="en-US" sz="900" dirty="0" err="1">
                <a:solidFill>
                  <a:schemeClr val="tx1"/>
                </a:solidFill>
              </a:rPr>
              <a:t>AS-IS</a:t>
            </a:r>
            <a:r>
              <a:rPr lang="da-DK" altLang="en-US" sz="900" dirty="0">
                <a:solidFill>
                  <a:schemeClr val="tx1"/>
                </a:solidFill>
              </a:rPr>
              <a:t> </a:t>
            </a:r>
            <a:endParaRPr lang="da-DK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5" name="Rectangle 94">
            <a:extLst>
              <a:ext uri="{FF2B5EF4-FFF2-40B4-BE49-F238E27FC236}">
                <a16:creationId xmlns:a16="http://schemas.microsoft.com/office/drawing/2014/main" id="{C46F619C-40E1-461C-B1F6-A091C955AF4D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8042276" y="3544888"/>
            <a:ext cx="30321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00" dirty="0">
                <a:solidFill>
                  <a:schemeClr val="tx1"/>
                </a:solidFill>
              </a:rPr>
              <a:t>NICS</a:t>
            </a:r>
            <a:endParaRPr lang="da-DK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5" name="Rectangle 9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042275" y="2971800"/>
            <a:ext cx="3492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sz="1000" dirty="0">
                <a:solidFill>
                  <a:schemeClr val="tx1"/>
                </a:solidFill>
                <a:sym typeface="+mn-lt"/>
              </a:rPr>
              <a:t> </a:t>
            </a:r>
          </a:p>
        </p:txBody>
      </p:sp>
      <p:sp>
        <p:nvSpPr>
          <p:cNvPr id="106" name="Rectangle 378">
            <a:extLst>
              <a:ext uri="{FF2B5EF4-FFF2-40B4-BE49-F238E27FC236}">
                <a16:creationId xmlns:a16="http://schemas.microsoft.com/office/drawing/2014/main" id="{AC4040DE-D75B-4CF3-A035-8C512524EB8F}"/>
              </a:ext>
            </a:extLst>
          </p:cNvPr>
          <p:cNvSpPr>
            <a:spLocks noChangeArrowheads="1"/>
          </p:cNvSpPr>
          <p:nvPr>
            <p:custDataLst>
              <p:tags r:id="rId86"/>
            </p:custDataLst>
          </p:nvPr>
        </p:nvSpPr>
        <p:spPr bwMode="auto">
          <a:xfrm>
            <a:off x="455613" y="3832225"/>
            <a:ext cx="1349375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26" dirty="0">
                <a:latin typeface="Arial Narrow" panose="020B0606020202030204" pitchFamily="34" charset="0"/>
                <a:sym typeface="Arial Narrow" panose="020B0606020202030204" pitchFamily="34" charset="0"/>
              </a:rPr>
              <a:t>C2_5 Compliance/Sikkerhed</a:t>
            </a:r>
            <a:endParaRPr lang="da-DK" sz="1026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>
        <p:nvSpPr>
          <p:cNvPr id="90" name="Text Placeholder 2">
            <a:extLst>
              <a:ext uri="{FF2B5EF4-FFF2-40B4-BE49-F238E27FC236}">
                <a16:creationId xmlns:a16="http://schemas.microsoft.com/office/drawing/2014/main" id="{5E6880F9-B25C-461A-BFBC-8752F2F50656}"/>
              </a:ext>
            </a:extLst>
          </p:cNvPr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7626350" y="2971800"/>
            <a:ext cx="222250" cy="150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900" dirty="0"/>
              <a:t>4.3. </a:t>
            </a:r>
            <a:endParaRPr lang="da-DK" altLang="en-US" sz="900" dirty="0">
              <a:sym typeface="+mn-lt"/>
            </a:endParaRPr>
          </a:p>
        </p:txBody>
      </p:sp>
      <p:sp>
        <p:nvSpPr>
          <p:cNvPr id="96" name="Rectangle 376"/>
          <p:cNvSpPr>
            <a:spLocks noChangeArrowheads="1"/>
          </p:cNvSpPr>
          <p:nvPr>
            <p:custDataLst>
              <p:tags r:id="rId88"/>
            </p:custDataLst>
          </p:nvPr>
        </p:nvSpPr>
        <p:spPr bwMode="auto">
          <a:xfrm>
            <a:off x="455613" y="2246313"/>
            <a:ext cx="1601788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SPOR C2 Governance &amp;</a:t>
            </a:r>
          </a:p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 b="1">
                <a:sym typeface="+mn-lt"/>
              </a:rPr>
              <a:t> tværgående koordination</a:t>
            </a:r>
          </a:p>
        </p:txBody>
      </p:sp>
      <p:sp>
        <p:nvSpPr>
          <p:cNvPr id="105" name="Rectangle 94">
            <a:extLst>
              <a:ext uri="{FF2B5EF4-FFF2-40B4-BE49-F238E27FC236}">
                <a16:creationId xmlns:a16="http://schemas.microsoft.com/office/drawing/2014/main" id="{FEA01270-CDDD-40F8-92FD-A8B290B4B1AC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8042275" y="3832225"/>
            <a:ext cx="26035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da-DK" altLang="en-US" sz="1000" dirty="0" err="1">
                <a:solidFill>
                  <a:schemeClr val="tx1"/>
                </a:solidFill>
              </a:rPr>
              <a:t>BRA</a:t>
            </a:r>
            <a:endParaRPr lang="da-DK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84" name="Rectangle 378">
            <a:extLst>
              <a:ext uri="{FF2B5EF4-FFF2-40B4-BE49-F238E27FC236}">
                <a16:creationId xmlns:a16="http://schemas.microsoft.com/office/drawing/2014/main" id="{0C8061A2-F78C-4573-A614-27C48D0AA6C3}"/>
              </a:ext>
            </a:extLst>
          </p:cNvPr>
          <p:cNvSpPr>
            <a:spLocks noChangeArrowheads="1"/>
          </p:cNvSpPr>
          <p:nvPr>
            <p:custDataLst>
              <p:tags r:id="rId90"/>
            </p:custDataLst>
          </p:nvPr>
        </p:nvSpPr>
        <p:spPr bwMode="auto">
          <a:xfrm>
            <a:off x="455613" y="3544888"/>
            <a:ext cx="998538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altLang="en-US" sz="1026" dirty="0">
                <a:latin typeface="Arial Narrow" panose="020B0606020202030204" pitchFamily="34" charset="0"/>
                <a:sym typeface="Arial Narrow" panose="020B0606020202030204" pitchFamily="34" charset="0"/>
              </a:rPr>
              <a:t>C2_4 Økonomimodel</a:t>
            </a:r>
            <a:endParaRPr lang="da-DK" sz="1026" dirty="0">
              <a:latin typeface="Arial Narrow" panose="020B0606020202030204" pitchFamily="34" charset="0"/>
              <a:sym typeface="Arial Narrow" panose="020B0606020202030204" pitchFamily="34" charset="0"/>
            </a:endParaRPr>
          </a:p>
        </p:txBody>
      </p:sp>
      <p:sp useBgFill="1">
        <p:nvSpPr>
          <p:cNvPr id="113" name="Text Placeholder 2">
            <a:extLst>
              <a:ext uri="{FF2B5EF4-FFF2-40B4-BE49-F238E27FC236}">
                <a16:creationId xmlns:a16="http://schemas.microsoft.com/office/drawing/2014/main" id="{B36775D5-88C7-44EC-9229-7F982CE526B1}"/>
              </a:ext>
            </a:extLst>
          </p:cNvPr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5405438" y="3398838"/>
            <a:ext cx="266700" cy="13335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altLang="en-US" sz="800" dirty="0" err="1">
                <a:sym typeface="+mn-lt"/>
              </a:rPr>
              <a:t>AS-IS</a:t>
            </a:r>
            <a:endParaRPr lang="da-DK" sz="800" dirty="0">
              <a:sym typeface="+mn-lt"/>
            </a:endParaRPr>
          </a:p>
        </p:txBody>
      </p:sp>
      <p:sp>
        <p:nvSpPr>
          <p:cNvPr id="77" name="Rectangle 733"/>
          <p:cNvSpPr>
            <a:spLocks noChangeArrowheads="1"/>
          </p:cNvSpPr>
          <p:nvPr>
            <p:custDataLst>
              <p:tags r:id="rId92"/>
            </p:custDataLst>
          </p:nvPr>
        </p:nvSpPr>
        <p:spPr bwMode="auto">
          <a:xfrm>
            <a:off x="2673350" y="1968500"/>
            <a:ext cx="239713" cy="15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solidFill>
                  <a:schemeClr val="accent1"/>
                </a:solidFill>
              </a14:hiddenFill>
            </a:ext>
            <a:ext uri="{91240B29-F687-4f45-9708-019B960494DF}">
              <a14:hiddenLine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o="urn:schemas-microsoft-com:office:office" xmlns:v="urn:schemas-microsoft-com:vml" xmlns:wp="http://schemas.openxmlformats.org/drawingml/2006/powerpointprocessingDrawing" xmlns:wne="http://schemas.microsoft.com/office/powerpoint/2006/powerpointml" xmlns:cdr="http://schemas.openxmlformats.org/drawingml/2006/chartDrawing" xmlns:dgm="http://schemas.openxmlformats.org/drawingml/2006/diagram" xmlns:c="http://schemas.openxmlformats.org/drawingml/2006/chart" xmlns:a14="http://schemas.microsoft.com/office/drawing/2010/main" xmlns:mc="http://schemas.openxmlformats.org/markup-compatibility/2006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/>
          <a:p>
            <a:pPr algn="r" defTabSz="910540" fontAlgn="base">
              <a:spcBef>
                <a:spcPct val="0"/>
              </a:spcBef>
              <a:spcAft>
                <a:spcPct val="0"/>
              </a:spcAft>
              <a:buSzPct val="120000"/>
            </a:pPr>
            <a:r>
              <a:rPr lang="da-DK" sz="1026">
                <a:sym typeface="+mn-lt"/>
              </a:rPr>
              <a:t>Uge</a:t>
            </a:r>
          </a:p>
        </p:txBody>
      </p:sp>
      <p:sp useBgFill="1">
        <p:nvSpPr>
          <p:cNvPr id="114" name="Text Placeholder 2">
            <a:extLst>
              <a:ext uri="{FF2B5EF4-FFF2-40B4-BE49-F238E27FC236}">
                <a16:creationId xmlns:a16="http://schemas.microsoft.com/office/drawing/2014/main" id="{87C67E13-1058-4CE0-9A44-D71379DF4328}"/>
              </a:ext>
            </a:extLst>
          </p:cNvPr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4725988" y="5521325"/>
            <a:ext cx="984250" cy="13335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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5962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988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03974" indent="-251988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à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​"/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354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da-DK" sz="800" dirty="0">
                <a:sym typeface="+mn-lt"/>
              </a:rPr>
              <a:t>HR: Start TO-DO liste</a:t>
            </a:r>
          </a:p>
        </p:txBody>
      </p:sp>
      <p:cxnSp>
        <p:nvCxnSpPr>
          <p:cNvPr id="88" name="Lige forbindelse 87">
            <a:extLst>
              <a:ext uri="{FF2B5EF4-FFF2-40B4-BE49-F238E27FC236}">
                <a16:creationId xmlns:a16="http://schemas.microsoft.com/office/drawing/2014/main" id="{6B28D11F-2798-46B0-BB14-E9016FB3F792}"/>
              </a:ext>
            </a:extLst>
          </p:cNvPr>
          <p:cNvCxnSpPr/>
          <p:nvPr>
            <p:custDataLst>
              <p:tags r:id="rId94"/>
            </p:custDataLst>
          </p:nvPr>
        </p:nvCxnSpPr>
        <p:spPr bwMode="gray">
          <a:xfrm>
            <a:off x="4141552" y="2167732"/>
            <a:ext cx="0" cy="3554412"/>
          </a:xfrm>
          <a:prstGeom prst="line">
            <a:avLst/>
          </a:prstGeom>
          <a:ln w="19050" cap="flat" cmpd="sng" algn="ctr">
            <a:solidFill>
              <a:srgbClr val="808080"/>
            </a:solidFill>
            <a:prstDash val="lg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9" name="Rektangel 178">
            <a:extLst>
              <a:ext uri="{FF2B5EF4-FFF2-40B4-BE49-F238E27FC236}">
                <a16:creationId xmlns:a16="http://schemas.microsoft.com/office/drawing/2014/main" id="{A8A9198A-AA49-4E00-BABB-A09D92CAA81A}"/>
              </a:ext>
            </a:extLst>
          </p:cNvPr>
          <p:cNvSpPr/>
          <p:nvPr/>
        </p:nvSpPr>
        <p:spPr>
          <a:xfrm>
            <a:off x="2991802" y="6613079"/>
            <a:ext cx="3002599" cy="219521"/>
          </a:xfrm>
          <a:prstGeom prst="rect">
            <a:avLst/>
          </a:prstGeom>
          <a:solidFill>
            <a:srgbClr val="D05A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 dirty="0"/>
              <a:t>Forbered til godkendelse i T-ledelse</a:t>
            </a:r>
          </a:p>
        </p:txBody>
      </p:sp>
      <p:sp>
        <p:nvSpPr>
          <p:cNvPr id="180" name="Rektangel 179">
            <a:extLst>
              <a:ext uri="{FF2B5EF4-FFF2-40B4-BE49-F238E27FC236}">
                <a16:creationId xmlns:a16="http://schemas.microsoft.com/office/drawing/2014/main" id="{C0BA46AD-AF32-42CD-BA34-22FA269AB2DE}"/>
              </a:ext>
            </a:extLst>
          </p:cNvPr>
          <p:cNvSpPr/>
          <p:nvPr/>
        </p:nvSpPr>
        <p:spPr>
          <a:xfrm>
            <a:off x="6096000" y="6601745"/>
            <a:ext cx="3002599" cy="219521"/>
          </a:xfrm>
          <a:prstGeom prst="rect">
            <a:avLst/>
          </a:prstGeom>
          <a:solidFill>
            <a:srgbClr val="DDCB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>
                <a:solidFill>
                  <a:schemeClr val="tx1"/>
                </a:solidFill>
              </a:rPr>
              <a:t>Gennemfør</a:t>
            </a:r>
          </a:p>
        </p:txBody>
      </p:sp>
      <p:sp>
        <p:nvSpPr>
          <p:cNvPr id="104" name="Rektangel 103">
            <a:extLst>
              <a:ext uri="{FF2B5EF4-FFF2-40B4-BE49-F238E27FC236}">
                <a16:creationId xmlns:a16="http://schemas.microsoft.com/office/drawing/2014/main" id="{4612D8AC-71EF-4DED-A52C-A970CCD781E1}"/>
              </a:ext>
            </a:extLst>
          </p:cNvPr>
          <p:cNvSpPr/>
          <p:nvPr/>
        </p:nvSpPr>
        <p:spPr>
          <a:xfrm>
            <a:off x="7737764" y="59701"/>
            <a:ext cx="1337833" cy="179403"/>
          </a:xfrm>
          <a:prstGeom prst="rect">
            <a:avLst/>
          </a:prstGeom>
          <a:solidFill>
            <a:srgbClr val="FF0000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da-DK" sz="900" i="1" dirty="0">
                <a:solidFill>
                  <a:schemeClr val="bg1"/>
                </a:solidFill>
              </a:rPr>
              <a:t>Opdateret 13.1.2020</a:t>
            </a:r>
          </a:p>
        </p:txBody>
      </p:sp>
      <p:sp>
        <p:nvSpPr>
          <p:cNvPr id="115" name="Rektangel 114">
            <a:extLst>
              <a:ext uri="{FF2B5EF4-FFF2-40B4-BE49-F238E27FC236}">
                <a16:creationId xmlns:a16="http://schemas.microsoft.com/office/drawing/2014/main" id="{28400A8E-92E0-45F8-8004-E33B788A155D}"/>
              </a:ext>
            </a:extLst>
          </p:cNvPr>
          <p:cNvSpPr/>
          <p:nvPr/>
        </p:nvSpPr>
        <p:spPr>
          <a:xfrm>
            <a:off x="395288" y="6601745"/>
            <a:ext cx="2525871" cy="230856"/>
          </a:xfrm>
          <a:prstGeom prst="rect">
            <a:avLst/>
          </a:prstGeom>
          <a:solidFill>
            <a:srgbClr val="AEB86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da-DK" sz="1000" dirty="0"/>
              <a:t>Fokusområde (ikke konkrete aktiviteter)</a:t>
            </a:r>
          </a:p>
        </p:txBody>
      </p:sp>
    </p:spTree>
    <p:extLst>
      <p:ext uri="{BB962C8B-B14F-4D97-AF65-F5344CB8AC3E}">
        <p14:creationId xmlns:p14="http://schemas.microsoft.com/office/powerpoint/2010/main" val="3528019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/%#m&lt;/m_strFormatTim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u7XyIgTQK5mwkk2ztk_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hUgQroTq.3sYcMeKzt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h_w_K7TXaSpJ_tfi25Q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J__3pGRdO88s0iQS0v3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0B1msUR5GkInWQ0UAr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YTQQ1rTsO5IdKt4yITG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lxGagkRL.ale2TLGItt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YKqZexSAmflqsf99cen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DfqkvMRNOqtD9SXUcQA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NiVkUfQkWmF6j.f9BH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mgOVwSS3avrTaazAo0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ppQUP4TfG96ekCNWTi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KTLHdxSUSO6zb.NoIpV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s3ZhfMTdiF4uWayQWxW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g_KdXbTOKl.RSVMKscT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eeeul.R5GUa4S7M790_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WQ.eWqQT.UFM7WUJZn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aC0c9WRGep4YFqhY2mN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vpy3EkR.mijjdo4Nx_1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cJVgYgSfuNUBUawR4NU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D0d3nDSsCtCb7ulcks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nTJIL8Qpagq4kI8aPQ1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dbMD4KT7SMX7QfuAjW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je7omWStOYPBtdz6KqF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vEBdtmSHe8wTpdgWlgn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vcGuiTEC6yoDANgL1s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CkICXSiue_FG3THSyS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T0GOR7RPCq5KYS3ApFL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8lHmaSTOay5u5aSyMTx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r2rdUeTDa1mQp1rC7nW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a73O5CRnqaBj8Q1DjXI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MgVWyR_SQoMQUi4yG2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W4y6e8QuemyYwXGJ5_.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ESvL9ORUq6sDtCuIfnR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0bsMgqNRlKklWxByVs1_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Cu52ZFSjWl.RY72eCmR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lXbbIsRMSimjUXtmzXD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JfQnKbTCiQdUpQtbZhm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clpQrpQlWkl3X0aXU58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.noAYAR9uKRZxTBPNYE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amA.fR9CfBFP6MHBKJ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i6l.JhTf.cGXP8EgDA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x.NHLqSPWnc1HsLCrhO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tq_CjBYTMyKzijpn8dEr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8.ekx6SEm33IqDl.BsL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1b5RgQSzqQv73i1jInq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Z9_b1mS3OzThtxT9_Sz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fliv.HT0KdYWfvD1NRs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tYtslbTL2krkPz9twu8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o3wv.yRIq6YJhFom7r0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IKWKo3Tkqg_tFMO5j8K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WzCUDcRhKdtbE075xCK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qjSu0oSkWFoDp_omWu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0bSYS0R562fyRO8h1lZ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H5uFpvStGDN9X9PqAAj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ZNKP4aRHWrDIbnfJVA7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xIcjNUSjeiHRYMXNdgK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IpU0OAQSeTM5GikNM_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hCh3ATju7kpGS293x1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rFeNCfTaaBFfLAV.sS6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7dVhYSRyKByxjsqrNjR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Wtyo98TCukMQdPmI6tL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67EpXSRgWWj6QlMtgcN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0iufulWQvSe2Ri7SUbc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SL7Y34SsCIg6wPlrKpH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AcUBLzQM6KF0fEBHTT4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B0x0STTjyqJUgl0Ol_d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0LSpjrRDW8rPIAdeAZT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qXwMICiTFSEumDrANiq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Ry7Z6wTBKILvtU9qUHQ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OJt95cR.ug2QD8SUPUP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QwuOvHTnmy_W7u67h.l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Gj3ON7TlOzUGaO0vi0r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YjY_BdThmFmnrz0WAhu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SFwCp6Sdyg8JWA_XKI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izlKZERQuO7WIT2fsa0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jnqm.DTZSAKgWaqESkU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nJ5w.zQDK9PbbwYnZoJ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252RtQmC9ucEHCRRNZ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g61DtsQoikxuQ9RvHnt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yYfj8ATMCZHn4A3jYuo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cB7T1nQnKtG1UzJGLP0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kLxkdDScqCRTBvNFRCk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sHsd2SiCeMwcyIe1JX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TIoRf.Q1CozMwOuALCz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0vZKCWS2upu6EW6CKxO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ZMpwZASReiML0AmfEqO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AGR37USJanLCH2uLPzr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TR7XhSZ6eGxTo.Sbnt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GyDo4cTT2R7O9562AIE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YLdJ7kThqwGn4zULtdQ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csQ1NLSlaiIUb3FuSDd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dh9_2BuS2qZ3Y6zC3sv2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ceS8ZjRF22L2hnXHkUR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N6dCztQCqpGPlmeIfNw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AZtggVRvyiKUP3D40bS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CqNgZ_QBeep_4CPXss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gFhP85QGiqmCrUL4DPc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to.o2FQi27tSxhWLdqB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QExbKERtKpWKMQyuUAr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iXvR59SvqFAwnRPVUN_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6Qyoj9SmSZgurxFiV6Y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p8hzfPRXehstjoaIext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GD1028Tyu502TAr2pLz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FDgzUlSRiY2RDWLIv1v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KEwcpMRTejV_qP._2B1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H19FxcSgW0TfvycnKA6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wM9DaTJSqAqgYHY4A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7kcsoVShmWXq1u71_eq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GJVpsXSKupHtG2qHms3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tOdTf_SqSYm2GbYuCkk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bg2wRhSzOSMP9hj_LAC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XOMSyISEi7FW1go6JDQ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ClsSVRUiPSXL3Z6ob0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3knDnYQ2C6TJwzznTnj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4uxLvT92joZmBl2qqy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_Zc7FiS0KoZ0blCSnTH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0Jz6YTRcCukvtti2JrQ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cxYXRPT1ST4qJmw8Bl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9qIytTR6OZi8c8rAdqh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5DAHViR1OJ3qB2Pv3vw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MgVWyR_SQoMQUi4yG2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0bSYS0R562fyRO8h1lZ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LmJo2xS2uDiTgys7CXi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x.NHLqSPWnc1HsLCrh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V4HKZeRnS8a2USYknMv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7N91WgkSU2ihBf6BEs8r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7kJPGWTrqtdJrPKUqWh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Ies_.ZQv2r34W0GXFfc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b5Ug9_SOefa9i1e7PIE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cXvANaSuCkUiE2WF_JO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gR9A2FTbmr4wNWOVQRs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Jm2tJJQN6qMDb3r05O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Yk_m9BSEWUHY0OyWPAd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GC7m2qRY.w92dW.NOeU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n4jrVcS8Kfb0780cDsy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SvPDTjRg6mgCTQ9xyl6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6ezNzNTMuWVWh9z08pj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N.S8d8TcO2Jp7T7SHeX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jV2R5L8TB2WfOYmchWut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z_dkUATMK2RB7JdIBq1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81XIbTQKFvFvFGSeW2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dvPRwNSS._lwVSiuRLW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QBpF9UQO.vUmT5Tx7bx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aK.6cNQjeNTMTS_zfS0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vfJO5QShO..gSjN9Njl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xaoE16RJWQ_cSwnT3Jd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.ja_UvSCaVsfYRxKQgN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V_Fkg1QLGxUFIhdvBKN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3PUV8VJRDaNj1j5mynzN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G1CQwAR4OjwaC4CcyV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jmq5shTQuhb6P8CBlOU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je7omWStOYPBtdz6KqF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T0GOR7RPCq5KYS3ApFL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vcGuiTEC6yoDANgL1s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CkICXSiue_FG3THSy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LxB8f6RUWCyMC2yzLmt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.FOmZoQEu..srQqSXsl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8lHmaSTOay5u5aSyMTx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r2rdUeTDa1mQp1rC7nW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Su2pGyQaqQWZbTKC7A.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3BZG4LQ1CMc8xJfhPYL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hRfMt9RouBflxGztfPv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g.LnymjQAyQcUEs1UNq2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swOrzATPO4AasIlh5uE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593beSTCV7j6MC7_04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_voXkoQvuMTJu28EE73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eLk4LdRUOH6LLPJKyK_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6GcU084S7qX1tG7biT4b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5JcTzESH.Reh3Epo7eA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zaej6dTgC6Uwuft151a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8zGMNyRt2vugrRX6dOm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oodxWvRCetD11x9WLJL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97pscaTjGuxD4nITfQT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Y_jhh2RGmNzOGt6rSYY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ybdZtLT9aXeDplaMnV4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daJNtjT6G8zNmEdPqu8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leZdTnSDaqhSMZYllOP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ddBmMASjmaKGYCbY6Fk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zfJWCnXRVuf2QnMBAhZh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38d1K_Qpuv8Q8ll_IAN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rOutC9R9y.BAjApnVdc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rAbsIQRiaom22UXADLH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XzNkGXS1ioTTZU6GEU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NnUNMEQiaLHGsoK5htx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DqgqjMRve3X33OWYayi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0P2RGoSAuxDqCyX1F0I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shVfmzS5KnV7lR4PYvH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KbS3oMQ.y6Bd5Qeyfm9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YZYV09TVGpfoesVYVAI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sHsd2SiCeMwcyIe1J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m5rpEvRcWjOcDYnbTOO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RT3AtZSriy.moh9Rs0q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2xcN5wSdeuhVyX5.9w8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Y0bjYMSb6c7K6FL3JZd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29WdO0R7GfS.L4UmPHr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g61DtsQoikxuQ9RvHnt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_eRC0NR5mePjiz_WJI5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2jpcu6QwmHNHtNtttoP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1rGAhxTIqSQnjHibPvo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to.o2FQi27tSxhWLdqB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FDgzUlSRiY2RDWLIv1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0vZKCWS2upu6EW6CKxO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.tkbfP4QJ2BKNnw14Uy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QW1jUaRWKjZGo1bCslE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zS0X5STrqHdrlueyCWz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jKKktyQFy80DOT2x5tO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bg2wRhSzOSMP9hj_LAC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4uxLvT92joZmBl2qqy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kwsOeeSUiqil6O2Q4B3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jy2nt6QvSdoA75432OV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252RtQmC9ucEHCRRNZ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1w0PPeQkeKdT74KwQ6e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Qe.9grRbOPNkemzaYWI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nJ5w.zQDK9PbbwYnZoJ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Wf9ZzoTaSC6JrkAB3CV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H8MvL6Tjq0LGApKbcF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WDOdk8SMyAWal739E6M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tBZtARBiEiQ_G5D4as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v3uGZ6T_C3GPguMocXU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ClsSVRUiPSXL3Z6ob0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C5Cw7wQM2bN3_s343D7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5DAHViR1OJ3qB2Pv3v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RKJuApSoaTRoCWU.4U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JOuwElRp27ob8Yx89z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yRP1jWRsSaLhtNctP.p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ru5c0eSD2avxll2Vfh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Pmq.MQo.BTCYFa.Vbz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SMuDbWERAmwvoQDdB6O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vcGuiTEC6yoDANgL1s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dyRJvoTyCRnLyfK30NU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bw_p.TceVmWLf8_wg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ghV0faTRKsPMC_YXpbu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bf9pNS0WSp4fij.xH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OCkICXSiue_FG3THSy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T0GOR7RPCq5KYS3ApFL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je7omWStOYPBtdz6Kq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.FOmZoQEu..srQqSXsl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8lHmaSTOay5u5aSyMTx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r2rdUeTDa1mQp1rC7n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YoRLIGSfyd6ojtABzx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XI4hpdQoeoxogzwVLb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802rz3oKWK2XYnh7tEr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m22Xe8S32g4QiRZrIQ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HZN65HR4.S1x1bS4oXP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7EybpUQS2OIcq1ZLL24E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LW_7ABQEy6zUhb4lHKm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K_dFL4RqOM93jcSfPt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z29Jf6T92yjwtklWbO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McPGvKTGeFEJLjkDdw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quRLPvQhGEfUErHP8FW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z0cejTQvCpss0RGRezr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2rx4zhQt.TxvxRR8o.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7G9nkCSMKrhR9Fe6TU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21yvrkWQFeW64zp7WWqh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xHa1vkTeqVB3lY3zSk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K2nyb3TtawpkdOe6DY1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TR7XhSZ6eGxTo.Sbnt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3knDnYQ2C6TJwzznTn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cB7T1nQnKtG1UzJGLP0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gPSHEmSNyZIiRy0Xh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RT3AtZSriy.moh9Rs0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AGR37USJanLCH2uLPzr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1v88z8RAStgjFD4Dda5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av54ENSSaNbTSzWzZyO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feZ7kOQHSbyotqNhlk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a4uxLvT92joZmBl2qqy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1vnoeqVRVasaiywRL26M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g61DtsQoikxuQ9RvHnt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_AZOqS9ScGpV39zTiI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NsHsd2SiCeMwcyIe1J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8L2B5kRGGTrSAbXG8_s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TIoRf.Q1CozMwOuALCz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sClsSVRUiPSXL3Z6ob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FDgzUlSRiY2RDWLIv1v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Ymt4DTRfmUJFMthwRtc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bg2wRhSzOSMP9hj_LAC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BXy_poQA2DdMcI8o5vp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csQ1NLSlaiIUb3FuSD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to.o2FQi27tSxhWLdqB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nJ5w.zQDK9PbbwYnZoJ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s1NOUbTaqZyKdPUjToL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0vZKCWS2upu6EW6CKxO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.f7D3GQaaLLtNRKQjHF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.XyPL2RlaAWk3s_IDlz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c252RtQmC9ucEHCRRNZ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l9HegbQZmxm5pNzVyId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403Xn4R7GbtYqDFm6t3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yQVYS6RLW1G8jMSYkJs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5DAHViR1OJ3qB2Pv3vw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MgVWyR_SQoMQUi4yG2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x.NHLqSPWnc1HsLCrhO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4iFJpmSwyj2PkAegiq2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yjUCjgQJmcDUj3V7aUbw"/>
</p:tagLst>
</file>

<file path=ppt/theme/theme1.xml><?xml version="1.0" encoding="utf-8"?>
<a:theme xmlns:a="http://schemas.openxmlformats.org/drawingml/2006/main" name="Blank">
  <a:themeElements>
    <a:clrScheme name="SDU">
      <a:dk1>
        <a:srgbClr val="000000"/>
      </a:dk1>
      <a:lt1>
        <a:sysClr val="window" lastClr="FFFFFF"/>
      </a:lt1>
      <a:dk2>
        <a:srgbClr val="7A6040"/>
      </a:dk2>
      <a:lt2>
        <a:srgbClr val="DDCBA4"/>
      </a:lt2>
      <a:accent1>
        <a:srgbClr val="AEB862"/>
      </a:accent1>
      <a:accent2>
        <a:srgbClr val="789D4A"/>
      </a:accent2>
      <a:accent3>
        <a:srgbClr val="F2C75C"/>
      </a:accent3>
      <a:accent4>
        <a:srgbClr val="E07E3C"/>
      </a:accent4>
      <a:accent5>
        <a:srgbClr val="E1BBB4"/>
      </a:accent5>
      <a:accent6>
        <a:srgbClr val="D05A57"/>
      </a:accent6>
      <a:hlink>
        <a:srgbClr val="0563C1"/>
      </a:hlink>
      <a:folHlink>
        <a:srgbClr val="954F72"/>
      </a:folHlink>
    </a:clrScheme>
    <a:fontScheme name="S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/>
        </a:defPPr>
      </a:lstStyle>
    </a:txDef>
  </a:objectDefaults>
  <a:extraClrSchemeLst/>
  <a:custClrLst>
    <a:custClr name="Grøn 1">
      <a:srgbClr val="4E5B31"/>
    </a:custClr>
    <a:custClr name="Grøn 2">
      <a:srgbClr val="789D4A"/>
    </a:custClr>
    <a:custClr name="Grøn 3">
      <a:srgbClr val="AEB862"/>
    </a:custClr>
    <a:custClr name="Grøn 4">
      <a:srgbClr val="EAE7B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 1">
      <a:srgbClr val="D38235"/>
    </a:custClr>
    <a:custClr name="Orange 2">
      <a:srgbClr val="E0A526"/>
    </a:custClr>
    <a:custClr name="Orange 3">
      <a:srgbClr val="EED484"/>
    </a:custClr>
    <a:custClr name="Orange 4">
      <a:srgbClr val="FCF0C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ød 1">
      <a:srgbClr val="862633"/>
    </a:custClr>
    <a:custClr name="Rød 2">
      <a:srgbClr val="D05A57"/>
    </a:custClr>
    <a:custClr name="Rød 3">
      <a:srgbClr val="E1BBB4"/>
    </a:custClr>
    <a:custClr name="Rød 4">
      <a:srgbClr val="F4E2D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run 1">
      <a:srgbClr val="473729"/>
    </a:custClr>
    <a:custClr name="Brun 2">
      <a:srgbClr val="946037"/>
    </a:custClr>
    <a:custClr name="Brun 3">
      <a:srgbClr val="DDCBA4"/>
    </a:custClr>
    <a:custClr name="Brun 4">
      <a:srgbClr val="EFE5D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ort">
      <a:srgbClr val="000000"/>
    </a:custClr>
    <a:custClr name="Hvid">
      <a:srgbClr val="FFFFFF"/>
    </a:custClr>
  </a:custClrLst>
  <a:extLst>
    <a:ext uri="{05A4C25C-085E-4340-85A3-A5531E510DB2}">
      <thm15:themeFamily xmlns:thm15="http://schemas.microsoft.com/office/thememl/2012/main" name="SDU widescreen.potx" id="{1C4F8E8D-0334-4267-96F7-9CAC143C1229}" vid="{6887ADA9-E5D5-4F4B-ACE2-43240691910A}"/>
    </a:ext>
  </a:extLst>
</a:theme>
</file>

<file path=ppt/theme/theme2.xml><?xml version="1.0" encoding="utf-8"?>
<a:theme xmlns:a="http://schemas.openxmlformats.org/drawingml/2006/main" name="1_Blank">
  <a:themeElements>
    <a:clrScheme name="SDU">
      <a:dk1>
        <a:srgbClr val="000000"/>
      </a:dk1>
      <a:lt1>
        <a:sysClr val="window" lastClr="FFFFFF"/>
      </a:lt1>
      <a:dk2>
        <a:srgbClr val="7A6040"/>
      </a:dk2>
      <a:lt2>
        <a:srgbClr val="DDCBA4"/>
      </a:lt2>
      <a:accent1>
        <a:srgbClr val="AEB862"/>
      </a:accent1>
      <a:accent2>
        <a:srgbClr val="789D4A"/>
      </a:accent2>
      <a:accent3>
        <a:srgbClr val="F2C75C"/>
      </a:accent3>
      <a:accent4>
        <a:srgbClr val="E07E3C"/>
      </a:accent4>
      <a:accent5>
        <a:srgbClr val="E1BBB4"/>
      </a:accent5>
      <a:accent6>
        <a:srgbClr val="D05A57"/>
      </a:accent6>
      <a:hlink>
        <a:srgbClr val="0563C1"/>
      </a:hlink>
      <a:folHlink>
        <a:srgbClr val="954F72"/>
      </a:folHlink>
    </a:clrScheme>
    <a:fontScheme name="S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/>
        </a:defPPr>
      </a:lstStyle>
    </a:txDef>
  </a:objectDefaults>
  <a:extraClrSchemeLst/>
  <a:custClrLst>
    <a:custClr name="Grøn 1">
      <a:srgbClr val="4E5B31"/>
    </a:custClr>
    <a:custClr name="Grøn 2">
      <a:srgbClr val="789D4A"/>
    </a:custClr>
    <a:custClr name="Grøn 3">
      <a:srgbClr val="AEB862"/>
    </a:custClr>
    <a:custClr name="Grøn 4">
      <a:srgbClr val="EAE7B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 1">
      <a:srgbClr val="D38235"/>
    </a:custClr>
    <a:custClr name="Orange 2">
      <a:srgbClr val="E0A526"/>
    </a:custClr>
    <a:custClr name="Orange 3">
      <a:srgbClr val="EED484"/>
    </a:custClr>
    <a:custClr name="Orange 4">
      <a:srgbClr val="FCF0C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ød 1">
      <a:srgbClr val="862633"/>
    </a:custClr>
    <a:custClr name="Rød 2">
      <a:srgbClr val="D05A57"/>
    </a:custClr>
    <a:custClr name="Rød 3">
      <a:srgbClr val="E1BBB4"/>
    </a:custClr>
    <a:custClr name="Rød 4">
      <a:srgbClr val="F4E2D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run 1">
      <a:srgbClr val="473729"/>
    </a:custClr>
    <a:custClr name="Brun 2">
      <a:srgbClr val="946037"/>
    </a:custClr>
    <a:custClr name="Brun 3">
      <a:srgbClr val="DDCBA4"/>
    </a:custClr>
    <a:custClr name="Brun 4">
      <a:srgbClr val="EFE5D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ort">
      <a:srgbClr val="000000"/>
    </a:custClr>
    <a:custClr name="Hvid">
      <a:srgbClr val="FFFFFF"/>
    </a:custClr>
  </a:custClrLst>
  <a:extLst>
    <a:ext uri="{05A4C25C-085E-4340-85A3-A5531E510DB2}">
      <thm15:themeFamily xmlns:thm15="http://schemas.microsoft.com/office/thememl/2012/main" name="SDU widescreen.potx" id="{1C4F8E8D-0334-4267-96F7-9CAC143C1229}" vid="{6887ADA9-E5D5-4F4B-ACE2-43240691910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Grøn 1">
      <a:srgbClr val="4E5B31"/>
    </a:custClr>
    <a:custClr name="Grøn 2">
      <a:srgbClr val="789D4A"/>
    </a:custClr>
    <a:custClr name="Grøn 3">
      <a:srgbClr val="AEB862"/>
    </a:custClr>
    <a:custClr name="Grøn 4">
      <a:srgbClr val="EAE7B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 1">
      <a:srgbClr val="D38235"/>
    </a:custClr>
    <a:custClr name="Orange 2">
      <a:srgbClr val="E0A526"/>
    </a:custClr>
    <a:custClr name="Orange 3">
      <a:srgbClr val="EED484"/>
    </a:custClr>
    <a:custClr name="Orange 4">
      <a:srgbClr val="FCF0C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ød 1">
      <a:srgbClr val="862633"/>
    </a:custClr>
    <a:custClr name="Rød 2">
      <a:srgbClr val="D05A57"/>
    </a:custClr>
    <a:custClr name="Rød 3">
      <a:srgbClr val="E1BBB4"/>
    </a:custClr>
    <a:custClr name="Rød 4">
      <a:srgbClr val="F4E2D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run 1">
      <a:srgbClr val="473729"/>
    </a:custClr>
    <a:custClr name="Brun 2">
      <a:srgbClr val="946037"/>
    </a:custClr>
    <a:custClr name="Brun 3">
      <a:srgbClr val="DDCBA4"/>
    </a:custClr>
    <a:custClr name="Brun 4">
      <a:srgbClr val="EFE5D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ort">
      <a:srgbClr val="000000"/>
    </a:custClr>
    <a:custClr name="Hvid">
      <a:srgbClr val="FFFFF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TemplafyFormConfiguration><![CDATA[{"formFields":[{"required":false,"type":"datePicker","name":"Date","label":"Date","helpTexts":{"prefix":"","postfix":""},"spacing":{},"fullyQualifiedName":"Date"}],"formDataEntries":[{"name":"Date","value":"WunPCMWN7rtFnBpe9Uq1rQ=="}]}]]></TemplafyFormConfiguratio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C052D12F44D5B04B8D13576B443C5840" ma:contentTypeVersion="6" ma:contentTypeDescription="Opret et nyt dokument." ma:contentTypeScope="" ma:versionID="888c4a0d29c1efae80c1c047cc1367a3">
  <xsd:schema xmlns:xsd="http://www.w3.org/2001/XMLSchema" xmlns:xs="http://www.w3.org/2001/XMLSchema" xmlns:p="http://schemas.microsoft.com/office/2006/metadata/properties" xmlns:ns2="28b39761-d04c-47a2-b327-7a36e7a94e10" targetNamespace="http://schemas.microsoft.com/office/2006/metadata/properties" ma:root="true" ma:fieldsID="4814d808af0905ec0ac2abbc0759b5d9" ns2:_="">
    <xsd:import namespace="28b39761-d04c-47a2-b327-7a36e7a94e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8b39761-d04c-47a2-b327-7a36e7a94e1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TemplafyTemplateConfiguration><![CDATA[{"elementsMetadata":[],"transformationConfigurations":[{"language":"{{DocumentLanguage}}","disableUpdates":false,"type":"proofingLanguage"}],"templateName":"SDU 4:3 template - uden enhedsnavn, dato og links","templateDescription":"SDU 4:3 template - uden enhedsnavn, dato og links","enableDocumentContentUpdater":true,"version":"1.3"}]]></TemplafyTemplateConfiguration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8AC4054-766B-4184-8C82-3C99998DAC7F}">
  <ds:schemaRefs/>
</ds:datastoreItem>
</file>

<file path=customXml/itemProps2.xml><?xml version="1.0" encoding="utf-8"?>
<ds:datastoreItem xmlns:ds="http://schemas.openxmlformats.org/officeDocument/2006/customXml" ds:itemID="{1B00B65F-0C4E-47C9-914C-131FB66358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A0EB71E-555A-4529-A3B3-F65379EF99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8b39761-d04c-47a2-b327-7a36e7a94e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C484C70F-0F64-4774-853F-19FDF7E1F81D}">
  <ds:schemaRefs/>
</ds:datastoreItem>
</file>

<file path=customXml/itemProps5.xml><?xml version="1.0" encoding="utf-8"?>
<ds:datastoreItem xmlns:ds="http://schemas.openxmlformats.org/officeDocument/2006/customXml" ds:itemID="{15702290-E7F2-47B7-A7AA-B89B9C4B8655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28b39761-d04c-47a2-b327-7a36e7a94e10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9</Words>
  <Application>Microsoft Office PowerPoint</Application>
  <PresentationFormat>Skærmshow (4:3)</PresentationFormat>
  <Paragraphs>191</Paragraphs>
  <Slides>3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10" baseType="lpstr">
      <vt:lpstr>Arial</vt:lpstr>
      <vt:lpstr>Arial Narrow</vt:lpstr>
      <vt:lpstr>HelveticaNeueLT Std Lt Cn</vt:lpstr>
      <vt:lpstr>Wingdings</vt:lpstr>
      <vt:lpstr>Blank</vt:lpstr>
      <vt:lpstr>1_Blank</vt:lpstr>
      <vt:lpstr>think-cell Slide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tablering af ny digital organisation på SDU</dc:title>
  <dc:creator/>
  <cp:lastModifiedBy/>
  <cp:revision>16</cp:revision>
  <dcterms:created xsi:type="dcterms:W3CDTF">2019-09-10T08:33:45Z</dcterms:created>
  <dcterms:modified xsi:type="dcterms:W3CDTF">2020-01-16T09:3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052D12F44D5B04B8D13576B443C5840</vt:lpwstr>
  </property>
</Properties>
</file>